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6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charts/chart6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charts/chart7.xml" ContentType="application/vnd.openxmlformats-officedocument.drawingml.chart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charts/chart8.xml" ContentType="application/vnd.openxmlformats-officedocument.drawingml.chart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charts/chart9.xml" ContentType="application/vnd.openxmlformats-officedocument.drawingml.chart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charts/chart10.xml" ContentType="application/vnd.openxmlformats-officedocument.drawingml.chart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charts/chart11.xml" ContentType="application/vnd.openxmlformats-officedocument.drawingml.chart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charts/chart12.xml" ContentType="application/vnd.openxmlformats-officedocument.drawingml.chart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charts/chart21.xml" ContentType="application/vnd.openxmlformats-officedocument.drawingml.chart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charts/chart2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6" r:id="rId2"/>
    <p:sldMasterId id="2147483680" r:id="rId3"/>
    <p:sldMasterId id="2147483686" r:id="rId4"/>
    <p:sldMasterId id="2147483694" r:id="rId5"/>
    <p:sldMasterId id="2147483734" r:id="rId6"/>
    <p:sldMasterId id="2147483785" r:id="rId7"/>
    <p:sldMasterId id="2147483819" r:id="rId8"/>
  </p:sldMasterIdLst>
  <p:notesMasterIdLst>
    <p:notesMasterId r:id="rId34"/>
  </p:notesMasterIdLst>
  <p:sldIdLst>
    <p:sldId id="3181" r:id="rId9"/>
    <p:sldId id="3182" r:id="rId10"/>
    <p:sldId id="983" r:id="rId11"/>
    <p:sldId id="273" r:id="rId12"/>
    <p:sldId id="3203" r:id="rId13"/>
    <p:sldId id="545" r:id="rId14"/>
    <p:sldId id="3205" r:id="rId15"/>
    <p:sldId id="3206" r:id="rId16"/>
    <p:sldId id="3202" r:id="rId17"/>
    <p:sldId id="1148" r:id="rId18"/>
    <p:sldId id="258" r:id="rId19"/>
    <p:sldId id="583" r:id="rId20"/>
    <p:sldId id="265" r:id="rId21"/>
    <p:sldId id="266" r:id="rId22"/>
    <p:sldId id="267" r:id="rId23"/>
    <p:sldId id="268" r:id="rId24"/>
    <p:sldId id="259" r:id="rId25"/>
    <p:sldId id="3201" r:id="rId26"/>
    <p:sldId id="260" r:id="rId27"/>
    <p:sldId id="261" r:id="rId28"/>
    <p:sldId id="262" r:id="rId29"/>
    <p:sldId id="263" r:id="rId30"/>
    <p:sldId id="257" r:id="rId31"/>
    <p:sldId id="264" r:id="rId32"/>
    <p:sldId id="3178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DD4808-C9C1-244D-B6EB-1A30D2FB61E4}">
          <p14:sldIdLst>
            <p14:sldId id="3181"/>
            <p14:sldId id="3182"/>
            <p14:sldId id="983"/>
            <p14:sldId id="273"/>
            <p14:sldId id="3203"/>
            <p14:sldId id="545"/>
            <p14:sldId id="3205"/>
            <p14:sldId id="3206"/>
            <p14:sldId id="3202"/>
            <p14:sldId id="1148"/>
            <p14:sldId id="258"/>
            <p14:sldId id="583"/>
          </p14:sldIdLst>
        </p14:section>
        <p14:section name="Appendix" id="{43676368-2316-C24E-89D8-9DD67B9800C2}">
          <p14:sldIdLst>
            <p14:sldId id="265"/>
            <p14:sldId id="266"/>
            <p14:sldId id="267"/>
            <p14:sldId id="268"/>
            <p14:sldId id="259"/>
            <p14:sldId id="3201"/>
            <p14:sldId id="260"/>
            <p14:sldId id="261"/>
            <p14:sldId id="262"/>
            <p14:sldId id="263"/>
            <p14:sldId id="257"/>
            <p14:sldId id="264"/>
            <p14:sldId id="317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C834"/>
    <a:srgbClr val="FF9300"/>
    <a:srgbClr val="E88604"/>
    <a:srgbClr val="AC680E"/>
    <a:srgbClr val="FFB7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85"/>
    <p:restoredTop sz="94629"/>
  </p:normalViewPr>
  <p:slideViewPr>
    <p:cSldViewPr snapToGrid="0" snapToObjects="1">
      <p:cViewPr>
        <p:scale>
          <a:sx n="83" d="100"/>
          <a:sy n="83" d="100"/>
        </p:scale>
        <p:origin x="712" y="7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Total</a:t>
            </a:r>
            <a:r>
              <a:rPr lang="en-GB" baseline="0" dirty="0"/>
              <a:t> monthly volumes – year 2019 (M units)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4800688976377951E-2"/>
          <c:y val="7.1961800787265995E-2"/>
          <c:w val="0.8366978984753769"/>
          <c:h val="0.8607567896281966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ln w="47625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14300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dPt>
            <c:idx val="7"/>
            <c:marker>
              <c:symbol val="circle"/>
              <c:size val="5"/>
              <c:spPr>
                <a:solidFill>
                  <a:schemeClr val="tx2"/>
                </a:solidFill>
                <a:ln w="114300">
                  <a:solidFill>
                    <a:srgbClr val="FFC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FC1C-4628-B2E3-5F71DFB0074E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FFC000"/>
                </a:solidFill>
                <a:ln w="114300">
                  <a:solidFill>
                    <a:srgbClr val="FFC000"/>
                  </a:solidFill>
                </a:ln>
                <a:effectLst/>
              </c:spPr>
            </c:marker>
            <c:bubble3D val="0"/>
            <c:spPr>
              <a:ln w="47625" cap="rnd">
                <a:solidFill>
                  <a:srgbClr val="FFC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FC1C-4628-B2E3-5F71DFB0074E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FFC000"/>
                </a:solidFill>
                <a:ln w="114300">
                  <a:solidFill>
                    <a:srgbClr val="FFC000"/>
                  </a:solidFill>
                </a:ln>
                <a:effectLst/>
              </c:spPr>
            </c:marker>
            <c:bubble3D val="0"/>
            <c:spPr>
              <a:ln w="47625" cap="rnd">
                <a:solidFill>
                  <a:srgbClr val="FFC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FC1C-4628-B2E3-5F71DFB0074E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FFC000"/>
                </a:solidFill>
                <a:ln w="114300">
                  <a:solidFill>
                    <a:srgbClr val="FFC000"/>
                  </a:solidFill>
                </a:ln>
                <a:effectLst/>
              </c:spPr>
            </c:marker>
            <c:bubble3D val="0"/>
            <c:spPr>
              <a:ln w="47625" cap="rnd">
                <a:solidFill>
                  <a:srgbClr val="FFC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FC1C-4628-B2E3-5F71DFB0074E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FFC000"/>
                </a:solidFill>
                <a:ln w="114300">
                  <a:solidFill>
                    <a:srgbClr val="FFC000"/>
                  </a:solidFill>
                </a:ln>
                <a:effectLst/>
              </c:spPr>
            </c:marker>
            <c:bubble3D val="0"/>
            <c:spPr>
              <a:ln w="47625" cap="rnd">
                <a:solidFill>
                  <a:srgbClr val="FFC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FC1C-4628-B2E3-5F71DFB0074E}"/>
              </c:ext>
            </c:extLst>
          </c:dPt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2.699465860000004</c:v>
                </c:pt>
                <c:pt idx="1">
                  <c:v>76.291570239999999</c:v>
                </c:pt>
                <c:pt idx="2">
                  <c:v>98.689118350000001</c:v>
                </c:pt>
                <c:pt idx="3">
                  <c:v>82.436602190000002</c:v>
                </c:pt>
                <c:pt idx="4">
                  <c:v>87.295356369999993</c:v>
                </c:pt>
                <c:pt idx="5">
                  <c:v>125.5723703</c:v>
                </c:pt>
                <c:pt idx="6">
                  <c:v>98.283771880000003</c:v>
                </c:pt>
                <c:pt idx="7">
                  <c:v>111.37602870000001</c:v>
                </c:pt>
                <c:pt idx="8">
                  <c:v>99.244799999999998</c:v>
                </c:pt>
                <c:pt idx="9">
                  <c:v>75.795519999999996</c:v>
                </c:pt>
                <c:pt idx="10">
                  <c:v>74.451560000000001</c:v>
                </c:pt>
                <c:pt idx="11">
                  <c:v>91.83257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8D-490A-9AC1-4CC20C5E37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0990840"/>
        <c:axId val="500991480"/>
      </c:lineChart>
      <c:catAx>
        <c:axId val="500990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0991480"/>
        <c:crosses val="autoZero"/>
        <c:auto val="1"/>
        <c:lblAlgn val="ctr"/>
        <c:lblOffset val="100"/>
        <c:noMultiLvlLbl val="0"/>
      </c:catAx>
      <c:valAx>
        <c:axId val="500991480"/>
        <c:scaling>
          <c:orientation val="minMax"/>
          <c:max val="16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0990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3550087873461E-2"/>
          <c:y val="7.9980129160457034E-2"/>
          <c:w val="0.97715289982425302"/>
          <c:h val="0.894187779433681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7AA-604F-BC67-1DA0E14CDB9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7AA-604F-BC67-1DA0E14CDB9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7AA-604F-BC67-1DA0E14CDB9C}"/>
              </c:ext>
            </c:extLst>
          </c:dPt>
          <c:dLbls>
            <c:dLbl>
              <c:idx val="0"/>
              <c:layout>
                <c:manualLayout>
                  <c:x val="0"/>
                  <c:y val="-0.437158469945355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7AA-604F-BC67-1DA0E14CDB9C}"/>
                </c:ext>
              </c:extLst>
            </c:dLbl>
            <c:dLbl>
              <c:idx val="3"/>
              <c:layout>
                <c:manualLayout>
                  <c:x val="0"/>
                  <c:y val="-0.438648782911078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7AA-604F-BC67-1DA0E14CDB9C}"/>
                </c:ext>
              </c:extLst>
            </c:dLbl>
            <c:dLbl>
              <c:idx val="6"/>
              <c:layout>
                <c:manualLayout>
                  <c:x val="0"/>
                  <c:y val="-0.486835568802781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7AA-604F-BC67-1DA0E14CDB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0288746</c:v>
                </c:pt>
                <c:pt idx="1">
                  <c:v>10273729</c:v>
                </c:pt>
                <c:pt idx="2">
                  <c:v>10273729</c:v>
                </c:pt>
                <c:pt idx="3">
                  <c:v>10320001</c:v>
                </c:pt>
                <c:pt idx="4">
                  <c:v>10320001</c:v>
                </c:pt>
                <c:pt idx="5">
                  <c:v>11053789</c:v>
                </c:pt>
                <c:pt idx="6">
                  <c:v>11564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AA-604F-BC67-1DA0E14CDB9C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4.1231992051664182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7AA-604F-BC67-1DA0E14CDB9C}"/>
                </c:ext>
              </c:extLst>
            </c:dLbl>
            <c:dLbl>
              <c:idx val="4"/>
              <c:layout>
                <c:manualLayout>
                  <c:x val="0"/>
                  <c:y val="-6.8554396423248884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7AA-604F-BC67-1DA0E14CDB9C}"/>
                </c:ext>
              </c:extLst>
            </c:dLbl>
            <c:dLbl>
              <c:idx val="5"/>
              <c:layout>
                <c:manualLayout>
                  <c:x val="0"/>
                  <c:y val="-5.9612518628912071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7AA-604F-BC67-1DA0E14CDB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15017</c:v>
                </c:pt>
                <c:pt idx="2">
                  <c:v>46272</c:v>
                </c:pt>
                <c:pt idx="4">
                  <c:v>733788</c:v>
                </c:pt>
                <c:pt idx="5">
                  <c:v>510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7AA-604F-BC67-1DA0E14CDB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41808"/>
        <c:axId val="1"/>
      </c:barChart>
      <c:catAx>
        <c:axId val="8241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6417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41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59385665529011E-3"/>
          <c:y val="4.0625000000000001E-2"/>
          <c:w val="0.98634812286689422"/>
          <c:h val="0.918750000000000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A10-2D40-BE5A-91300CC2A12B}"/>
              </c:ext>
            </c:extLst>
          </c:dPt>
          <c:dPt>
            <c:idx val="4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A10-2D40-BE5A-91300CC2A12B}"/>
              </c:ext>
            </c:extLst>
          </c:dPt>
          <c:dPt>
            <c:idx val="8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A10-2D40-BE5A-91300CC2A12B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40821034.322007656</c:v>
                </c:pt>
                <c:pt idx="1">
                  <c:v>40821034.322007656</c:v>
                </c:pt>
                <c:pt idx="2">
                  <c:v>90776115.07156539</c:v>
                </c:pt>
                <c:pt idx="3">
                  <c:v>106731379.29312301</c:v>
                </c:pt>
                <c:pt idx="4">
                  <c:v>106731379.29312301</c:v>
                </c:pt>
                <c:pt idx="5">
                  <c:v>106731379.29312301</c:v>
                </c:pt>
                <c:pt idx="6">
                  <c:v>187454834.97577047</c:v>
                </c:pt>
                <c:pt idx="7">
                  <c:v>220420724.07525325</c:v>
                </c:pt>
                <c:pt idx="8">
                  <c:v>220420724.0752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10-2D40-BE5A-91300CC2A12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A10-2D40-BE5A-91300CC2A12B}"/>
              </c:ext>
            </c:extLst>
          </c:dPt>
          <c:dPt>
            <c:idx val="7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A10-2D40-BE5A-91300CC2A12B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49955080.749557734</c:v>
                </c:pt>
                <c:pt idx="2">
                  <c:v>20791374.26089716</c:v>
                </c:pt>
                <c:pt idx="3">
                  <c:v>4836110.0393395424</c:v>
                </c:pt>
                <c:pt idx="5">
                  <c:v>80723455.682647467</c:v>
                </c:pt>
                <c:pt idx="6">
                  <c:v>40059555.368689775</c:v>
                </c:pt>
                <c:pt idx="7">
                  <c:v>7093666.269207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A10-2D40-BE5A-91300CC2A1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3785904"/>
        <c:axId val="1"/>
      </c:barChart>
      <c:catAx>
        <c:axId val="93785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7514390.344460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3785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803699897225082E-3"/>
          <c:y val="4.0625000000000001E-2"/>
          <c:w val="0.98663926002055502"/>
          <c:h val="0.918750000000000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431-5A40-8B5D-D02F25AAF4C9}"/>
              </c:ext>
            </c:extLst>
          </c:dPt>
          <c:dPt>
            <c:idx val="4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431-5A40-8B5D-D02F25AAF4C9}"/>
              </c:ext>
            </c:extLst>
          </c:dPt>
          <c:dPt>
            <c:idx val="8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431-5A40-8B5D-D02F25AAF4C9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5804477.4614732862</c:v>
                </c:pt>
                <c:pt idx="1">
                  <c:v>5804477.4614732862</c:v>
                </c:pt>
                <c:pt idx="2">
                  <c:v>12037399.271436095</c:v>
                </c:pt>
                <c:pt idx="3">
                  <c:v>13586700.746810973</c:v>
                </c:pt>
                <c:pt idx="4">
                  <c:v>13586700.746810973</c:v>
                </c:pt>
                <c:pt idx="5">
                  <c:v>13586700.746810973</c:v>
                </c:pt>
                <c:pt idx="6">
                  <c:v>27213657.161600679</c:v>
                </c:pt>
                <c:pt idx="7">
                  <c:v>31054716.337863624</c:v>
                </c:pt>
                <c:pt idx="8">
                  <c:v>31054716.337863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431-5A40-8B5D-D02F25AAF4C9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431-5A40-8B5D-D02F25AAF4C9}"/>
              </c:ext>
            </c:extLst>
          </c:dPt>
          <c:dPt>
            <c:idx val="7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431-5A40-8B5D-D02F25AAF4C9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6232921.8099628091</c:v>
                </c:pt>
                <c:pt idx="2">
                  <c:v>2507067.1915246844</c:v>
                </c:pt>
                <c:pt idx="3">
                  <c:v>957765.71614980698</c:v>
                </c:pt>
                <c:pt idx="5">
                  <c:v>13626956.414789706</c:v>
                </c:pt>
                <c:pt idx="6">
                  <c:v>4683845.1500467956</c:v>
                </c:pt>
                <c:pt idx="7">
                  <c:v>842785.97378385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431-5A40-8B5D-D02F25AAF4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095440"/>
        <c:axId val="1"/>
      </c:barChart>
      <c:catAx>
        <c:axId val="94095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897502.3116474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95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4209097080792E-3"/>
          <c:y val="0.12850678733031676"/>
          <c:w val="0.98587915818058391"/>
          <c:h val="0.824434389140271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6AF-CB45-B1FC-FE86CC7706AF}"/>
              </c:ext>
            </c:extLst>
          </c:dPt>
          <c:dLbls>
            <c:dLbl>
              <c:idx val="0"/>
              <c:layout>
                <c:manualLayout>
                  <c:x val="0"/>
                  <c:y val="-0.1719457013574660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6AF-CB45-B1FC-FE86CC7706AF}"/>
                </c:ext>
              </c:extLst>
            </c:dLbl>
            <c:dLbl>
              <c:idx val="1"/>
              <c:layout>
                <c:manualLayout>
                  <c:x val="0"/>
                  <c:y val="-0.296832579185520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AF-CB45-B1FC-FE86CC7706AF}"/>
                </c:ext>
              </c:extLst>
            </c:dLbl>
            <c:dLbl>
              <c:idx val="2"/>
              <c:layout>
                <c:manualLayout>
                  <c:x val="0"/>
                  <c:y val="-0.4642533936651583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AF-CB45-B1FC-FE86CC7706AF}"/>
                </c:ext>
              </c:extLst>
            </c:dLbl>
            <c:dLbl>
              <c:idx val="3"/>
              <c:layout>
                <c:manualLayout>
                  <c:x val="0"/>
                  <c:y val="-0.113122171945701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AF-CB45-B1FC-FE86CC7706AF}"/>
                </c:ext>
              </c:extLst>
            </c:dLbl>
            <c:dLbl>
              <c:idx val="4"/>
              <c:layout>
                <c:manualLayout>
                  <c:x val="0"/>
                  <c:y val="-8.3257918552036195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AF-CB45-B1FC-FE86CC7706AF}"/>
                </c:ext>
              </c:extLst>
            </c:dLbl>
            <c:dLbl>
              <c:idx val="5"/>
              <c:layout>
                <c:manualLayout>
                  <c:x val="0"/>
                  <c:y val="-0.4769230769230769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AF-CB45-B1FC-FE86CC7706AF}"/>
                </c:ext>
              </c:extLst>
            </c:dLbl>
            <c:dLbl>
              <c:idx val="6"/>
              <c:layout>
                <c:manualLayout>
                  <c:x val="0"/>
                  <c:y val="-8.6877828054298639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AF-CB45-B1FC-FE86CC7706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8.7099061578516235</c:v>
                </c:pt>
                <c:pt idx="1">
                  <c:v>18.719075122249965</c:v>
                </c:pt>
                <c:pt idx="2">
                  <c:v>32.169640210571075</c:v>
                </c:pt>
                <c:pt idx="3">
                  <c:v>3.9374997897015374</c:v>
                </c:pt>
                <c:pt idx="4">
                  <c:v>1.526748250279113</c:v>
                </c:pt>
                <c:pt idx="5">
                  <c:v>33.169276571333313</c:v>
                </c:pt>
                <c:pt idx="6">
                  <c:v>1.7678538980133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6AF-CB45-B1FC-FE86CC7706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623376"/>
        <c:axId val="1"/>
      </c:barChart>
      <c:catAx>
        <c:axId val="95623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.1692765713333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623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4209097080792E-3"/>
          <c:y val="0.14171656686626746"/>
          <c:w val="0.98587915818058391"/>
          <c:h val="0.721556886227544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0B0-184D-9A53-57C48578A57F}"/>
              </c:ext>
            </c:extLst>
          </c:dPt>
          <c:dLbls>
            <c:dLbl>
              <c:idx val="0"/>
              <c:layout>
                <c:manualLayout>
                  <c:x val="0"/>
                  <c:y val="-0.111776447105788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0B0-184D-9A53-57C48578A57F}"/>
                </c:ext>
              </c:extLst>
            </c:dLbl>
            <c:dLbl>
              <c:idx val="1"/>
              <c:layout>
                <c:manualLayout>
                  <c:x val="0"/>
                  <c:y val="-0.1057884231536926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0B0-184D-9A53-57C48578A57F}"/>
                </c:ext>
              </c:extLst>
            </c:dLbl>
            <c:dLbl>
              <c:idx val="2"/>
              <c:layout>
                <c:manualLayout>
                  <c:x val="0"/>
                  <c:y val="-0.2455089820359281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0B0-184D-9A53-57C48578A57F}"/>
                </c:ext>
              </c:extLst>
            </c:dLbl>
            <c:dLbl>
              <c:idx val="3"/>
              <c:layout>
                <c:manualLayout>
                  <c:x val="0"/>
                  <c:y val="-0.2514970059880239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0B0-184D-9A53-57C48578A57F}"/>
                </c:ext>
              </c:extLst>
            </c:dLbl>
            <c:dLbl>
              <c:idx val="4"/>
              <c:layout>
                <c:manualLayout>
                  <c:x val="0"/>
                  <c:y val="-7.485029940119759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0B0-184D-9A53-57C48578A57F}"/>
                </c:ext>
              </c:extLst>
            </c:dLbl>
            <c:dLbl>
              <c:idx val="5"/>
              <c:layout>
                <c:manualLayout>
                  <c:x val="0"/>
                  <c:y val="-0.2185628742514970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0B0-184D-9A53-57C48578A57F}"/>
                </c:ext>
              </c:extLst>
            </c:dLbl>
            <c:dLbl>
              <c:idx val="6"/>
              <c:layout>
                <c:manualLayout>
                  <c:x val="0"/>
                  <c:y val="-0.144710578842315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0B0-184D-9A53-57C48578A5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0.21</c:v>
                </c:pt>
                <c:pt idx="1">
                  <c:v>0.18</c:v>
                </c:pt>
                <c:pt idx="2">
                  <c:v>-0.92999999999999994</c:v>
                </c:pt>
                <c:pt idx="3">
                  <c:v>0.92999999999999994</c:v>
                </c:pt>
                <c:pt idx="4">
                  <c:v>0.02</c:v>
                </c:pt>
                <c:pt idx="5">
                  <c:v>-0.79</c:v>
                </c:pt>
                <c:pt idx="6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B0-184D-9A53-57C48578A5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659168"/>
        <c:axId val="1"/>
      </c:barChart>
      <c:catAx>
        <c:axId val="96659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92999999999999994"/>
          <c:min val="-0.92999999999999994"/>
        </c:scaling>
        <c:delete val="1"/>
        <c:axPos val="l"/>
        <c:numFmt formatCode="General" sourceLinked="1"/>
        <c:majorTickMark val="out"/>
        <c:minorTickMark val="none"/>
        <c:tickLblPos val="nextTo"/>
        <c:crossAx val="96659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444876783398187E-3"/>
          <c:y val="6.2877871825876661E-2"/>
          <c:w val="0.98651102464332041"/>
          <c:h val="0.874244256348246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00F-DE46-A759-520773EBBBB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00F-DE46-A759-520773EBBBB6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00F-DE46-A759-520773EBBBB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00F-DE46-A759-520773EBBBB6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00F-DE46-A759-520773EBBBB6}"/>
              </c:ext>
            </c:extLst>
          </c:dPt>
          <c:dLbls>
            <c:dLbl>
              <c:idx val="0"/>
              <c:layout>
                <c:manualLayout>
                  <c:x val="0"/>
                  <c:y val="-0.1366384522370012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00F-DE46-A759-520773EBBBB6}"/>
                </c:ext>
              </c:extLst>
            </c:dLbl>
            <c:dLbl>
              <c:idx val="1"/>
              <c:layout>
                <c:manualLayout>
                  <c:x val="0"/>
                  <c:y val="-0.1378476420798065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00F-DE46-A759-520773EBBBB6}"/>
                </c:ext>
              </c:extLst>
            </c:dLbl>
            <c:dLbl>
              <c:idx val="2"/>
              <c:layout>
                <c:manualLayout>
                  <c:x val="0"/>
                  <c:y val="-0.224909310761789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00F-DE46-A759-520773EBBBB6}"/>
                </c:ext>
              </c:extLst>
            </c:dLbl>
            <c:dLbl>
              <c:idx val="3"/>
              <c:layout>
                <c:manualLayout>
                  <c:x val="0"/>
                  <c:y val="-0.3409915356711003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00F-DE46-A759-520773EBBBB6}"/>
                </c:ext>
              </c:extLst>
            </c:dLbl>
            <c:dLbl>
              <c:idx val="4"/>
              <c:layout>
                <c:manualLayout>
                  <c:x val="0"/>
                  <c:y val="-0.2660217654171704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00F-DE46-A759-520773EBBBB6}"/>
                </c:ext>
              </c:extLst>
            </c:dLbl>
            <c:dLbl>
              <c:idx val="5"/>
              <c:layout>
                <c:manualLayout>
                  <c:x val="0"/>
                  <c:y val="-0.1475211608222490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00F-DE46-A759-520773EBBBB6}"/>
                </c:ext>
              </c:extLst>
            </c:dLbl>
            <c:dLbl>
              <c:idx val="6"/>
              <c:layout>
                <c:manualLayout>
                  <c:x val="0"/>
                  <c:y val="-0.1197097944377267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00F-DE46-A759-520773EBBBB6}"/>
                </c:ext>
              </c:extLst>
            </c:dLbl>
            <c:dLbl>
              <c:idx val="8"/>
              <c:layout>
                <c:manualLayout>
                  <c:x val="0"/>
                  <c:y val="-0.1741233373639661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00F-DE46-A759-520773EBBBB6}"/>
                </c:ext>
              </c:extLst>
            </c:dLbl>
            <c:dLbl>
              <c:idx val="9"/>
              <c:layout>
                <c:manualLayout>
                  <c:x val="0"/>
                  <c:y val="-0.112454655380894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00F-DE46-A759-520773EBBBB6}"/>
                </c:ext>
              </c:extLst>
            </c:dLbl>
            <c:dLbl>
              <c:idx val="10"/>
              <c:layout>
                <c:manualLayout>
                  <c:x val="0"/>
                  <c:y val="-0.1233373639661426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00F-DE46-A759-520773EBBBB6}"/>
                </c:ext>
              </c:extLst>
            </c:dLbl>
            <c:dLbl>
              <c:idx val="11"/>
              <c:layout>
                <c:manualLayout>
                  <c:x val="0"/>
                  <c:y val="-0.1813784764207980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00F-DE46-A759-520773EBBBB6}"/>
                </c:ext>
              </c:extLst>
            </c:dLbl>
            <c:dLbl>
              <c:idx val="12"/>
              <c:layout>
                <c:manualLayout>
                  <c:x val="0"/>
                  <c:y val="-0.1160822249093107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00F-DE46-A759-520773EBBBB6}"/>
                </c:ext>
              </c:extLst>
            </c:dLbl>
            <c:dLbl>
              <c:idx val="13"/>
              <c:layout>
                <c:manualLayout>
                  <c:x val="0"/>
                  <c:y val="-0.4304715840386940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00F-DE46-A759-520773EBBBB6}"/>
                </c:ext>
              </c:extLst>
            </c:dLbl>
            <c:dLbl>
              <c:idx val="14"/>
              <c:layout>
                <c:manualLayout>
                  <c:x val="0"/>
                  <c:y val="-0.2357920193470374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00F-DE46-A759-520773EBBBB6}"/>
                </c:ext>
              </c:extLst>
            </c:dLbl>
            <c:dLbl>
              <c:idx val="15"/>
              <c:layout>
                <c:manualLayout>
                  <c:x val="0"/>
                  <c:y val="-0.4135429262394195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00F-DE46-A759-520773EBBBB6}"/>
                </c:ext>
              </c:extLst>
            </c:dLbl>
            <c:dLbl>
              <c:idx val="16"/>
              <c:layout>
                <c:manualLayout>
                  <c:x val="0"/>
                  <c:y val="-0.2684401451027811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00F-DE46-A759-520773EBBB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2.401951120086057</c:v>
                </c:pt>
                <c:pt idx="1">
                  <c:v>2.4479589937620196</c:v>
                </c:pt>
                <c:pt idx="2">
                  <c:v>6.6199555897377413</c:v>
                </c:pt>
                <c:pt idx="3">
                  <c:v>12.208595814022594</c:v>
                </c:pt>
                <c:pt idx="4">
                  <c:v>8.6658841865846181</c:v>
                </c:pt>
                <c:pt idx="5">
                  <c:v>2.9540635153377757</c:v>
                </c:pt>
                <c:pt idx="6">
                  <c:v>1.5897887662493646</c:v>
                </c:pt>
                <c:pt idx="7">
                  <c:v>20.928005455149048</c:v>
                </c:pt>
                <c:pt idx="8">
                  <c:v>4.2398648061414876</c:v>
                </c:pt>
                <c:pt idx="9">
                  <c:v>1.3165088479604388</c:v>
                </c:pt>
                <c:pt idx="10">
                  <c:v>1.8008116199732367</c:v>
                </c:pt>
                <c:pt idx="11">
                  <c:v>4.5359656778307151</c:v>
                </c:pt>
                <c:pt idx="12">
                  <c:v>1.4396381250789725</c:v>
                </c:pt>
                <c:pt idx="13">
                  <c:v>16.499257412773108</c:v>
                </c:pt>
                <c:pt idx="14">
                  <c:v>7.221252140002675</c:v>
                </c:pt>
                <c:pt idx="15">
                  <c:v>15.646867192808219</c:v>
                </c:pt>
                <c:pt idx="16">
                  <c:v>8.70990615785162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00F-DE46-A759-520773EBBB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586064"/>
        <c:axId val="1"/>
      </c:barChart>
      <c:catAx>
        <c:axId val="64586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.92800545514904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5860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148760330578514E-3"/>
          <c:y val="5.701754385964912E-2"/>
          <c:w val="0.98657024793388437"/>
          <c:h val="0.792763157894736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676-5642-8578-3452B4BEA59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676-5642-8578-3452B4BEA59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676-5642-8578-3452B4BEA59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676-5642-8578-3452B4BEA59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676-5642-8578-3452B4BEA592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676-5642-8578-3452B4BEA592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8676-5642-8578-3452B4BEA592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8676-5642-8578-3452B4BEA592}"/>
              </c:ext>
            </c:extLst>
          </c:dPt>
          <c:dLbls>
            <c:dLbl>
              <c:idx val="0"/>
              <c:layout>
                <c:manualLayout>
                  <c:x val="0"/>
                  <c:y val="-0.1315789473684210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676-5642-8578-3452B4BEA592}"/>
                </c:ext>
              </c:extLst>
            </c:dLbl>
            <c:dLbl>
              <c:idx val="1"/>
              <c:layout>
                <c:manualLayout>
                  <c:x val="0"/>
                  <c:y val="-0.1535087719298245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676-5642-8578-3452B4BEA592}"/>
                </c:ext>
              </c:extLst>
            </c:dLbl>
            <c:dLbl>
              <c:idx val="2"/>
              <c:layout>
                <c:manualLayout>
                  <c:x val="0"/>
                  <c:y val="-0.1260964912280701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676-5642-8578-3452B4BEA592}"/>
                </c:ext>
              </c:extLst>
            </c:dLbl>
            <c:dLbl>
              <c:idx val="3"/>
              <c:layout>
                <c:manualLayout>
                  <c:x val="0"/>
                  <c:y val="-0.1940789473684210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676-5642-8578-3452B4BEA592}"/>
                </c:ext>
              </c:extLst>
            </c:dLbl>
            <c:dLbl>
              <c:idx val="4"/>
              <c:layout>
                <c:manualLayout>
                  <c:x val="0"/>
                  <c:y val="-7.3464912280701761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676-5642-8578-3452B4BEA592}"/>
                </c:ext>
              </c:extLst>
            </c:dLbl>
            <c:dLbl>
              <c:idx val="5"/>
              <c:layout>
                <c:manualLayout>
                  <c:x val="0"/>
                  <c:y val="-0.1918859649122807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676-5642-8578-3452B4BEA592}"/>
                </c:ext>
              </c:extLst>
            </c:dLbl>
            <c:dLbl>
              <c:idx val="6"/>
              <c:layout>
                <c:manualLayout>
                  <c:x val="0"/>
                  <c:y val="-0.1074561403508771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676-5642-8578-3452B4BEA592}"/>
                </c:ext>
              </c:extLst>
            </c:dLbl>
            <c:dLbl>
              <c:idx val="7"/>
              <c:layout>
                <c:manualLayout>
                  <c:x val="0"/>
                  <c:y val="-0.2028508771929824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676-5642-8578-3452B4BEA592}"/>
                </c:ext>
              </c:extLst>
            </c:dLbl>
            <c:dLbl>
              <c:idx val="8"/>
              <c:layout>
                <c:manualLayout>
                  <c:x val="0"/>
                  <c:y val="-0.1754385964912280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676-5642-8578-3452B4BEA592}"/>
                </c:ext>
              </c:extLst>
            </c:dLbl>
            <c:dLbl>
              <c:idx val="9"/>
              <c:layout>
                <c:manualLayout>
                  <c:x val="0"/>
                  <c:y val="-0.1239035087719298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676-5642-8578-3452B4BEA592}"/>
                </c:ext>
              </c:extLst>
            </c:dLbl>
            <c:dLbl>
              <c:idx val="10"/>
              <c:layout>
                <c:manualLayout>
                  <c:x val="0"/>
                  <c:y val="-9.539473684210526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676-5642-8578-3452B4BEA592}"/>
                </c:ext>
              </c:extLst>
            </c:dLbl>
            <c:dLbl>
              <c:idx val="11"/>
              <c:layout>
                <c:manualLayout>
                  <c:x val="0"/>
                  <c:y val="-0.1502192982456140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676-5642-8578-3452B4BEA592}"/>
                </c:ext>
              </c:extLst>
            </c:dLbl>
            <c:dLbl>
              <c:idx val="12"/>
              <c:layout>
                <c:manualLayout>
                  <c:x val="0"/>
                  <c:y val="-8.004385964912280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676-5642-8578-3452B4BEA592}"/>
                </c:ext>
              </c:extLst>
            </c:dLbl>
            <c:dLbl>
              <c:idx val="14"/>
              <c:layout>
                <c:manualLayout>
                  <c:x val="0"/>
                  <c:y val="-0.2587719298245614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676-5642-8578-3452B4BEA592}"/>
                </c:ext>
              </c:extLst>
            </c:dLbl>
            <c:dLbl>
              <c:idx val="15"/>
              <c:layout>
                <c:manualLayout>
                  <c:x val="0"/>
                  <c:y val="-8.552631578947368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676-5642-8578-3452B4BEA592}"/>
                </c:ext>
              </c:extLst>
            </c:dLbl>
            <c:dLbl>
              <c:idx val="16"/>
              <c:layout>
                <c:manualLayout>
                  <c:x val="0"/>
                  <c:y val="-0.1107456140350877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676-5642-8578-3452B4BEA5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0.33876891574899543</c:v>
                </c:pt>
                <c:pt idx="1">
                  <c:v>0.47658897477049211</c:v>
                </c:pt>
                <c:pt idx="2">
                  <c:v>-0.34775512374178169</c:v>
                </c:pt>
                <c:pt idx="3">
                  <c:v>0.73164943073304034</c:v>
                </c:pt>
                <c:pt idx="4">
                  <c:v>-1.2138368371432395E-2</c:v>
                </c:pt>
                <c:pt idx="5">
                  <c:v>-0.76235390802863034</c:v>
                </c:pt>
                <c:pt idx="6">
                  <c:v>-0.22986500298248155</c:v>
                </c:pt>
                <c:pt idx="7">
                  <c:v>-0.82657862760471268</c:v>
                </c:pt>
                <c:pt idx="8">
                  <c:v>0.61322476460682407</c:v>
                </c:pt>
                <c:pt idx="9">
                  <c:v>-0.33394156826803428</c:v>
                </c:pt>
                <c:pt idx="10">
                  <c:v>-0.14968848513692914</c:v>
                </c:pt>
                <c:pt idx="11">
                  <c:v>-0.49997854308138773</c:v>
                </c:pt>
                <c:pt idx="12">
                  <c:v>-5.3257013408207141E-2</c:v>
                </c:pt>
                <c:pt idx="13">
                  <c:v>1.6707404364970264</c:v>
                </c:pt>
                <c:pt idx="14">
                  <c:v>1.1388080217367667</c:v>
                </c:pt>
                <c:pt idx="15">
                  <c:v>-9.1652385073348608E-2</c:v>
                </c:pt>
                <c:pt idx="16">
                  <c:v>0.20590290824308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676-5642-8578-3452B4BEA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062592"/>
        <c:axId val="1"/>
      </c:barChart>
      <c:catAx>
        <c:axId val="97062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.6707404364970264"/>
          <c:min val="-0.82657862760471268"/>
        </c:scaling>
        <c:delete val="1"/>
        <c:axPos val="l"/>
        <c:numFmt formatCode="General" sourceLinked="1"/>
        <c:majorTickMark val="out"/>
        <c:minorTickMark val="none"/>
        <c:tickLblPos val="nextTo"/>
        <c:crossAx val="97062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930069930069921E-3"/>
          <c:y val="0.17200854700854704"/>
          <c:w val="0.98601398601398593"/>
          <c:h val="0.77243589743589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196581196581196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78-6C4B-9C1C-735BB671AEAB}"/>
                </c:ext>
              </c:extLst>
            </c:dLbl>
            <c:dLbl>
              <c:idx val="1"/>
              <c:layout>
                <c:manualLayout>
                  <c:x val="0"/>
                  <c:y val="-0.1730769230769230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678-6C4B-9C1C-735BB671AEAB}"/>
                </c:ext>
              </c:extLst>
            </c:dLbl>
            <c:dLbl>
              <c:idx val="2"/>
              <c:layout>
                <c:manualLayout>
                  <c:x val="0"/>
                  <c:y val="-0.3418803418803418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678-6C4B-9C1C-735BB671AEAB}"/>
                </c:ext>
              </c:extLst>
            </c:dLbl>
            <c:dLbl>
              <c:idx val="3"/>
              <c:layout>
                <c:manualLayout>
                  <c:x val="0"/>
                  <c:y val="-6.303418803418803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78-6C4B-9C1C-735BB671AEAB}"/>
                </c:ext>
              </c:extLst>
            </c:dLbl>
            <c:dLbl>
              <c:idx val="4"/>
              <c:layout>
                <c:manualLayout>
                  <c:x val="0"/>
                  <c:y val="-5.87606837606837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78-6C4B-9C1C-735BB671AEAB}"/>
                </c:ext>
              </c:extLst>
            </c:dLbl>
            <c:dLbl>
              <c:idx val="6"/>
              <c:layout>
                <c:manualLayout>
                  <c:x val="0"/>
                  <c:y val="-0.4722222222222222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678-6C4B-9C1C-735BB671AE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0.77537364800489916</c:v>
                </c:pt>
                <c:pt idx="1">
                  <c:v>1.9916875036842023</c:v>
                </c:pt>
                <c:pt idx="2">
                  <c:v>5.799661238499997</c:v>
                </c:pt>
                <c:pt idx="3">
                  <c:v>9.5846842937348214E-2</c:v>
                </c:pt>
                <c:pt idx="4">
                  <c:v>4.2233056493702612E-2</c:v>
                </c:pt>
                <c:pt idx="5">
                  <c:v>5.1038682314699969E-3</c:v>
                </c:pt>
                <c:pt idx="6">
                  <c:v>8.7099061578516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678-6C4B-9C1C-735BB671A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238352"/>
        <c:axId val="1"/>
      </c:barChart>
      <c:catAx>
        <c:axId val="96238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.70990615785161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238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692206076618224E-3"/>
          <c:y val="0.15510597302504817"/>
          <c:w val="0.98626155878467636"/>
          <c:h val="0.696531791907514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E88-C444-B3DA-C4D209CDC8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E88-C444-B3DA-C4D209CDC81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E88-C444-B3DA-C4D209CDC816}"/>
              </c:ext>
            </c:extLst>
          </c:dPt>
          <c:dLbls>
            <c:dLbl>
              <c:idx val="0"/>
              <c:layout>
                <c:manualLayout>
                  <c:x val="0"/>
                  <c:y val="-0.1156069364161849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E88-C444-B3DA-C4D209CDC816}"/>
                </c:ext>
              </c:extLst>
            </c:dLbl>
            <c:dLbl>
              <c:idx val="1"/>
              <c:layout>
                <c:manualLayout>
                  <c:x val="0"/>
                  <c:y val="-0.1387283236994219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E88-C444-B3DA-C4D209CDC816}"/>
                </c:ext>
              </c:extLst>
            </c:dLbl>
            <c:dLbl>
              <c:idx val="2"/>
              <c:layout>
                <c:manualLayout>
                  <c:x val="0"/>
                  <c:y val="-0.3564547206165703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E88-C444-B3DA-C4D209CDC816}"/>
                </c:ext>
              </c:extLst>
            </c:dLbl>
            <c:dLbl>
              <c:idx val="3"/>
              <c:layout>
                <c:manualLayout>
                  <c:x val="0"/>
                  <c:y val="-7.610789980732177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E88-C444-B3DA-C4D209CDC816}"/>
                </c:ext>
              </c:extLst>
            </c:dLbl>
            <c:dLbl>
              <c:idx val="4"/>
              <c:layout>
                <c:manualLayout>
                  <c:x val="0"/>
                  <c:y val="-8.6705202312138727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E88-C444-B3DA-C4D209CDC816}"/>
                </c:ext>
              </c:extLst>
            </c:dLbl>
            <c:dLbl>
              <c:idx val="5"/>
              <c:layout>
                <c:manualLayout>
                  <c:x val="0"/>
                  <c:y val="-7.3217726396917149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E88-C444-B3DA-C4D209CDC816}"/>
                </c:ext>
              </c:extLst>
            </c:dLbl>
            <c:dLbl>
              <c:idx val="6"/>
              <c:layout>
                <c:manualLayout>
                  <c:x val="0"/>
                  <c:y val="-0.3005780346820809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E88-C444-B3DA-C4D209CDC8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.517436617755474E-2</c:v>
                </c:pt>
                <c:pt idx="1">
                  <c:v>-6.3391731728405787E-2</c:v>
                </c:pt>
                <c:pt idx="2">
                  <c:v>0.25743241491455321</c:v>
                </c:pt>
                <c:pt idx="3">
                  <c:v>-5.8483053501506409E-3</c:v>
                </c:pt>
                <c:pt idx="4">
                  <c:v>-1.5034666865753905E-2</c:v>
                </c:pt>
                <c:pt idx="5">
                  <c:v>-2.4291689047287145E-3</c:v>
                </c:pt>
                <c:pt idx="6">
                  <c:v>0.20590290824306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88-C444-B3DA-C4D209CDC8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129008"/>
        <c:axId val="1"/>
      </c:barChart>
      <c:catAx>
        <c:axId val="97129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25743241491455321"/>
          <c:min val="-6.3391731728405787E-2"/>
        </c:scaling>
        <c:delete val="1"/>
        <c:axPos val="l"/>
        <c:numFmt formatCode="General" sourceLinked="1"/>
        <c:majorTickMark val="out"/>
        <c:minorTickMark val="none"/>
        <c:tickLblPos val="nextTo"/>
        <c:crossAx val="97129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22060353798128E-2"/>
          <c:y val="0.17200854700854704"/>
          <c:w val="0.97835587929240375"/>
          <c:h val="0.77243589743589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25641025641025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E7E-D34A-9D9A-51BF1E6A4985}"/>
                </c:ext>
              </c:extLst>
            </c:dLbl>
            <c:dLbl>
              <c:idx val="1"/>
              <c:layout>
                <c:manualLayout>
                  <c:x val="0"/>
                  <c:y val="-0.104700854700854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E7E-D34A-9D9A-51BF1E6A4985}"/>
                </c:ext>
              </c:extLst>
            </c:dLbl>
            <c:dLbl>
              <c:idx val="2"/>
              <c:layout>
                <c:manualLayout>
                  <c:x val="0"/>
                  <c:y val="-0.1805555555555555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E7E-D34A-9D9A-51BF1E6A4985}"/>
                </c:ext>
              </c:extLst>
            </c:dLbl>
            <c:dLbl>
              <c:idx val="3"/>
              <c:layout>
                <c:manualLayout>
                  <c:x val="0"/>
                  <c:y val="-0.4722222222222222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E7E-D34A-9D9A-51BF1E6A49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6.0186609915093889</c:v>
                </c:pt>
                <c:pt idx="1">
                  <c:v>0.56087817733500944</c:v>
                </c:pt>
                <c:pt idx="2">
                  <c:v>2.1303669890072157</c:v>
                </c:pt>
                <c:pt idx="3">
                  <c:v>8.7099061578516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7E-D34A-9D9A-51BF1E6A4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996208"/>
        <c:axId val="1"/>
      </c:barChart>
      <c:catAx>
        <c:axId val="96996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.709906157851614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996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Total volumes over</a:t>
            </a:r>
            <a:r>
              <a:rPr lang="en-GB" baseline="0" dirty="0"/>
              <a:t> years (M of units)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411786417322829E-2"/>
          <c:y val="0.2358647558501489"/>
          <c:w val="0.91740071358267716"/>
          <c:h val="0.63482906320088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al Value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27.8416075799998</c:v>
                </c:pt>
                <c:pt idx="1">
                  <c:v>1066.7761838800002</c:v>
                </c:pt>
                <c:pt idx="2">
                  <c:v>752.64428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02-6949-9921-12EC614685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 volume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2">
                  <c:v>341.32445999999999</c:v>
                </c:pt>
                <c:pt idx="3">
                  <c:v>1128.6313326770999</c:v>
                </c:pt>
                <c:pt idx="4">
                  <c:v>1160.8964086201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02-6949-9921-12EC61468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9199504"/>
        <c:axId val="499198544"/>
      </c:barChart>
      <c:catAx>
        <c:axId val="499199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9198544"/>
        <c:crosses val="autoZero"/>
        <c:auto val="1"/>
        <c:lblAlgn val="ctr"/>
        <c:lblOffset val="100"/>
        <c:noMultiLvlLbl val="0"/>
      </c:catAx>
      <c:valAx>
        <c:axId val="499198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9199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22060353798128E-2"/>
          <c:y val="0.15510597302504817"/>
          <c:w val="0.97835587929240375"/>
          <c:h val="0.696531791907514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E10-7540-93FE-AABF7B303D12}"/>
              </c:ext>
            </c:extLst>
          </c:dPt>
          <c:dLbls>
            <c:dLbl>
              <c:idx val="0"/>
              <c:layout>
                <c:manualLayout>
                  <c:x val="0"/>
                  <c:y val="-0.1897880539499036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E10-7540-93FE-AABF7B303D12}"/>
                </c:ext>
              </c:extLst>
            </c:dLbl>
            <c:dLbl>
              <c:idx val="1"/>
              <c:layout>
                <c:manualLayout>
                  <c:x val="0"/>
                  <c:y val="-0.3121387283236994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E10-7540-93FE-AABF7B303D12}"/>
                </c:ext>
              </c:extLst>
            </c:dLbl>
            <c:dLbl>
              <c:idx val="2"/>
              <c:layout>
                <c:manualLayout>
                  <c:x val="0"/>
                  <c:y val="-0.1059730250481695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E10-7540-93FE-AABF7B303D12}"/>
                </c:ext>
              </c:extLst>
            </c:dLbl>
            <c:dLbl>
              <c:idx val="3"/>
              <c:layout>
                <c:manualLayout>
                  <c:x val="0"/>
                  <c:y val="-0.3892100192678227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E10-7540-93FE-AABF7B303D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.4504178531003412E-2</c:v>
                </c:pt>
                <c:pt idx="1">
                  <c:v>0.15515637676274041</c:v>
                </c:pt>
                <c:pt idx="2">
                  <c:v>-2.3757647050680342E-2</c:v>
                </c:pt>
                <c:pt idx="3">
                  <c:v>0.20590290824306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10-7540-93FE-AABF7B303D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015472"/>
        <c:axId val="1"/>
      </c:barChart>
      <c:catAx>
        <c:axId val="96015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20590290824306356"/>
          <c:min val="-2.3757647050680342E-2"/>
        </c:scaling>
        <c:delete val="1"/>
        <c:axPos val="l"/>
        <c:numFmt formatCode="General" sourceLinked="1"/>
        <c:majorTickMark val="out"/>
        <c:minorTickMark val="none"/>
        <c:tickLblPos val="nextTo"/>
        <c:crossAx val="96015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311715776117302E-3"/>
          <c:y val="2.7310924369747899E-2"/>
          <c:w val="0.98533765684477659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F04-E948-993F-8CB5E5DBCF3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F04-E948-993F-8CB5E5DBCF38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17621.931740920991</c:v>
                </c:pt>
                <c:pt idx="1">
                  <c:v>17621.931740920991</c:v>
                </c:pt>
                <c:pt idx="2">
                  <c:v>18105.06174092181</c:v>
                </c:pt>
                <c:pt idx="3">
                  <c:v>9853.8484809212387</c:v>
                </c:pt>
                <c:pt idx="4">
                  <c:v>9853.8484809212387</c:v>
                </c:pt>
                <c:pt idx="5">
                  <c:v>71113.325970936567</c:v>
                </c:pt>
                <c:pt idx="6">
                  <c:v>95270.653290938586</c:v>
                </c:pt>
                <c:pt idx="7">
                  <c:v>42354.271871063858</c:v>
                </c:pt>
                <c:pt idx="8">
                  <c:v>42354.271871063858</c:v>
                </c:pt>
                <c:pt idx="9">
                  <c:v>45081.08187106438</c:v>
                </c:pt>
                <c:pt idx="10">
                  <c:v>48878.135201063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04-E948-993F-8CB5E5DBCF38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F04-E948-993F-8CB5E5DBCF38}"/>
              </c:ext>
            </c:extLst>
          </c:dPt>
          <c:dPt>
            <c:idx val="6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F04-E948-993F-8CB5E5DBCF38}"/>
              </c:ext>
            </c:extLst>
          </c:dPt>
          <c:dPt>
            <c:idx val="7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F04-E948-993F-8CB5E5DBCF38}"/>
              </c:ext>
            </c:extLst>
          </c:dPt>
          <c:dLbls>
            <c:dLbl>
              <c:idx val="2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F04-E948-993F-8CB5E5DBCF38}"/>
                </c:ext>
              </c:extLst>
            </c:dLbl>
            <c:dLbl>
              <c:idx val="4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F04-E948-993F-8CB5E5DBCF38}"/>
                </c:ext>
              </c:extLst>
            </c:dLbl>
            <c:dLbl>
              <c:idx val="5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F04-E948-993F-8CB5E5DBCF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1">
                  <c:v>483.13000000081956</c:v>
                </c:pt>
                <c:pt idx="2">
                  <c:v>5359.7567400000989</c:v>
                </c:pt>
                <c:pt idx="3">
                  <c:v>13610.970000000671</c:v>
                </c:pt>
                <c:pt idx="4">
                  <c:v>61259.477490015328</c:v>
                </c:pt>
                <c:pt idx="5">
                  <c:v>26880.747320001945</c:v>
                </c:pt>
                <c:pt idx="6">
                  <c:v>2723.4199999999255</c:v>
                </c:pt>
                <c:pt idx="7">
                  <c:v>52916.381419874728</c:v>
                </c:pt>
                <c:pt idx="8">
                  <c:v>2726.8100000005215</c:v>
                </c:pt>
                <c:pt idx="9">
                  <c:v>3797.0533299986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F04-E948-993F-8CB5E5DBC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909568"/>
        <c:axId val="1"/>
      </c:barChart>
      <c:catAx>
        <c:axId val="98909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7994.0732909385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8909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311715776117302E-3"/>
          <c:y val="2.7310924369747899E-2"/>
          <c:w val="0.98533765684477659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17-1540-BA9C-EF06AEDF374F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17-1540-BA9C-EF06AEDF374F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139359.04385422915</c:v>
                </c:pt>
                <c:pt idx="1">
                  <c:v>139359.04385422915</c:v>
                </c:pt>
                <c:pt idx="2">
                  <c:v>201177.04385422915</c:v>
                </c:pt>
                <c:pt idx="3">
                  <c:v>220000.04385422915</c:v>
                </c:pt>
                <c:pt idx="4">
                  <c:v>231362.04385422915</c:v>
                </c:pt>
                <c:pt idx="5">
                  <c:v>560363.04385422915</c:v>
                </c:pt>
                <c:pt idx="6">
                  <c:v>642250.04385422915</c:v>
                </c:pt>
                <c:pt idx="7">
                  <c:v>642250.04385422915</c:v>
                </c:pt>
                <c:pt idx="8">
                  <c:v>1385760.0438542292</c:v>
                </c:pt>
                <c:pt idx="9">
                  <c:v>1383533.0438542292</c:v>
                </c:pt>
                <c:pt idx="10">
                  <c:v>1383533.04385422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17-1540-BA9C-EF06AEDF374F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A17-1540-BA9C-EF06AEDF374F}"/>
              </c:ext>
            </c:extLst>
          </c:dPt>
          <c:dPt>
            <c:idx val="9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A17-1540-BA9C-EF06AEDF374F}"/>
              </c:ext>
            </c:extLst>
          </c:dPt>
          <c:dLbls>
            <c:dLbl>
              <c:idx val="5"/>
              <c:layout>
                <c:manualLayout>
                  <c:x val="0"/>
                  <c:y val="-2.100840336134453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A17-1540-BA9C-EF06AEDF37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1">
                  <c:v>61818</c:v>
                </c:pt>
                <c:pt idx="2">
                  <c:v>18823</c:v>
                </c:pt>
                <c:pt idx="3">
                  <c:v>11362</c:v>
                </c:pt>
                <c:pt idx="4">
                  <c:v>329001</c:v>
                </c:pt>
                <c:pt idx="5">
                  <c:v>85451</c:v>
                </c:pt>
                <c:pt idx="6">
                  <c:v>3564</c:v>
                </c:pt>
                <c:pt idx="7">
                  <c:v>743510</c:v>
                </c:pt>
                <c:pt idx="8">
                  <c:v>131</c:v>
                </c:pt>
                <c:pt idx="9">
                  <c:v>2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A17-1540-BA9C-EF06AEDF3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594928"/>
        <c:axId val="1"/>
      </c:barChart>
      <c:catAx>
        <c:axId val="96594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5891.04385422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5949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59385665529011E-3"/>
          <c:y val="4.0625000000000001E-2"/>
          <c:w val="0.98634812286689422"/>
          <c:h val="0.918750000000000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A10-2D40-BE5A-91300CC2A12B}"/>
              </c:ext>
            </c:extLst>
          </c:dPt>
          <c:dPt>
            <c:idx val="4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A10-2D40-BE5A-91300CC2A12B}"/>
              </c:ext>
            </c:extLst>
          </c:dPt>
          <c:dPt>
            <c:idx val="8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A10-2D40-BE5A-91300CC2A12B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40821034.322007656</c:v>
                </c:pt>
                <c:pt idx="1">
                  <c:v>40821034.322007656</c:v>
                </c:pt>
                <c:pt idx="2">
                  <c:v>90776115.07156539</c:v>
                </c:pt>
                <c:pt idx="3">
                  <c:v>106731379.29312301</c:v>
                </c:pt>
                <c:pt idx="4">
                  <c:v>106731379.29312301</c:v>
                </c:pt>
                <c:pt idx="5">
                  <c:v>106731379.29312301</c:v>
                </c:pt>
                <c:pt idx="6">
                  <c:v>187454834.97577047</c:v>
                </c:pt>
                <c:pt idx="7">
                  <c:v>220420724.07525325</c:v>
                </c:pt>
                <c:pt idx="8">
                  <c:v>220420724.0752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10-2D40-BE5A-91300CC2A12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A10-2D40-BE5A-91300CC2A12B}"/>
              </c:ext>
            </c:extLst>
          </c:dPt>
          <c:dPt>
            <c:idx val="7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A10-2D40-BE5A-91300CC2A12B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49955080.749557734</c:v>
                </c:pt>
                <c:pt idx="2">
                  <c:v>20791374.26089716</c:v>
                </c:pt>
                <c:pt idx="3">
                  <c:v>4836110.0393395424</c:v>
                </c:pt>
                <c:pt idx="5">
                  <c:v>80723455.682647467</c:v>
                </c:pt>
                <c:pt idx="6">
                  <c:v>40059555.368689775</c:v>
                </c:pt>
                <c:pt idx="7">
                  <c:v>7093666.269207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A10-2D40-BE5A-91300CC2A1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3785904"/>
        <c:axId val="1"/>
      </c:barChart>
      <c:catAx>
        <c:axId val="93785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7514390.344460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3785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4209097080792E-3"/>
          <c:y val="0.12850678733031676"/>
          <c:w val="0.98587915818058391"/>
          <c:h val="0.824434389140271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6AF-CB45-B1FC-FE86CC7706AF}"/>
              </c:ext>
            </c:extLst>
          </c:dPt>
          <c:dLbls>
            <c:dLbl>
              <c:idx val="0"/>
              <c:layout>
                <c:manualLayout>
                  <c:x val="0"/>
                  <c:y val="-0.1719457013574660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6AF-CB45-B1FC-FE86CC7706AF}"/>
                </c:ext>
              </c:extLst>
            </c:dLbl>
            <c:dLbl>
              <c:idx val="1"/>
              <c:layout>
                <c:manualLayout>
                  <c:x val="0"/>
                  <c:y val="-0.296832579185520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AF-CB45-B1FC-FE86CC7706AF}"/>
                </c:ext>
              </c:extLst>
            </c:dLbl>
            <c:dLbl>
              <c:idx val="2"/>
              <c:layout>
                <c:manualLayout>
                  <c:x val="0"/>
                  <c:y val="-0.4642533936651583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AF-CB45-B1FC-FE86CC7706AF}"/>
                </c:ext>
              </c:extLst>
            </c:dLbl>
            <c:dLbl>
              <c:idx val="3"/>
              <c:layout>
                <c:manualLayout>
                  <c:x val="0"/>
                  <c:y val="-0.113122171945701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AF-CB45-B1FC-FE86CC7706AF}"/>
                </c:ext>
              </c:extLst>
            </c:dLbl>
            <c:dLbl>
              <c:idx val="4"/>
              <c:layout>
                <c:manualLayout>
                  <c:x val="0"/>
                  <c:y val="-8.3257918552036195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AF-CB45-B1FC-FE86CC7706AF}"/>
                </c:ext>
              </c:extLst>
            </c:dLbl>
            <c:dLbl>
              <c:idx val="5"/>
              <c:layout>
                <c:manualLayout>
                  <c:x val="0"/>
                  <c:y val="-0.4769230769230769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AF-CB45-B1FC-FE86CC7706AF}"/>
                </c:ext>
              </c:extLst>
            </c:dLbl>
            <c:dLbl>
              <c:idx val="6"/>
              <c:layout>
                <c:manualLayout>
                  <c:x val="0"/>
                  <c:y val="-8.6877828054298639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AF-CB45-B1FC-FE86CC7706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8.7099061578516235</c:v>
                </c:pt>
                <c:pt idx="1">
                  <c:v>18.719075122249965</c:v>
                </c:pt>
                <c:pt idx="2">
                  <c:v>32.169640210571075</c:v>
                </c:pt>
                <c:pt idx="3">
                  <c:v>3.9374997897015374</c:v>
                </c:pt>
                <c:pt idx="4">
                  <c:v>1.526748250279113</c:v>
                </c:pt>
                <c:pt idx="5">
                  <c:v>33.169276571333313</c:v>
                </c:pt>
                <c:pt idx="6">
                  <c:v>1.7678538980133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6AF-CB45-B1FC-FE86CC7706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623376"/>
        <c:axId val="1"/>
      </c:barChart>
      <c:catAx>
        <c:axId val="95623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.1692765713333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623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4209097080792E-3"/>
          <c:y val="0.14171656686626746"/>
          <c:w val="0.98587915818058391"/>
          <c:h val="0.721556886227544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0B0-184D-9A53-57C48578A57F}"/>
              </c:ext>
            </c:extLst>
          </c:dPt>
          <c:dLbls>
            <c:dLbl>
              <c:idx val="0"/>
              <c:layout>
                <c:manualLayout>
                  <c:x val="0"/>
                  <c:y val="-0.111776447105788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0B0-184D-9A53-57C48578A57F}"/>
                </c:ext>
              </c:extLst>
            </c:dLbl>
            <c:dLbl>
              <c:idx val="1"/>
              <c:layout>
                <c:manualLayout>
                  <c:x val="0"/>
                  <c:y val="-0.1057884231536926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0B0-184D-9A53-57C48578A57F}"/>
                </c:ext>
              </c:extLst>
            </c:dLbl>
            <c:dLbl>
              <c:idx val="2"/>
              <c:layout>
                <c:manualLayout>
                  <c:x val="0"/>
                  <c:y val="-0.2455089820359281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0B0-184D-9A53-57C48578A57F}"/>
                </c:ext>
              </c:extLst>
            </c:dLbl>
            <c:dLbl>
              <c:idx val="3"/>
              <c:layout>
                <c:manualLayout>
                  <c:x val="0"/>
                  <c:y val="-0.2514970059880239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0B0-184D-9A53-57C48578A57F}"/>
                </c:ext>
              </c:extLst>
            </c:dLbl>
            <c:dLbl>
              <c:idx val="4"/>
              <c:layout>
                <c:manualLayout>
                  <c:x val="0"/>
                  <c:y val="-7.485029940119759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0B0-184D-9A53-57C48578A57F}"/>
                </c:ext>
              </c:extLst>
            </c:dLbl>
            <c:dLbl>
              <c:idx val="5"/>
              <c:layout>
                <c:manualLayout>
                  <c:x val="0"/>
                  <c:y val="-0.2185628742514970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0B0-184D-9A53-57C48578A57F}"/>
                </c:ext>
              </c:extLst>
            </c:dLbl>
            <c:dLbl>
              <c:idx val="6"/>
              <c:layout>
                <c:manualLayout>
                  <c:x val="0"/>
                  <c:y val="-0.144710578842315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0B0-184D-9A53-57C48578A5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0.21</c:v>
                </c:pt>
                <c:pt idx="1">
                  <c:v>0.18</c:v>
                </c:pt>
                <c:pt idx="2">
                  <c:v>-0.92999999999999994</c:v>
                </c:pt>
                <c:pt idx="3">
                  <c:v>0.92999999999999994</c:v>
                </c:pt>
                <c:pt idx="4">
                  <c:v>0.02</c:v>
                </c:pt>
                <c:pt idx="5">
                  <c:v>-0.79</c:v>
                </c:pt>
                <c:pt idx="6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B0-184D-9A53-57C48578A5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659168"/>
        <c:axId val="1"/>
      </c:barChart>
      <c:catAx>
        <c:axId val="96659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92999999999999994"/>
          <c:min val="-0.92999999999999994"/>
        </c:scaling>
        <c:delete val="1"/>
        <c:axPos val="l"/>
        <c:numFmt formatCode="General" sourceLinked="1"/>
        <c:majorTickMark val="out"/>
        <c:minorTickMark val="none"/>
        <c:tickLblPos val="nextTo"/>
        <c:crossAx val="96659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803699897225082E-3"/>
          <c:y val="4.0625000000000001E-2"/>
          <c:w val="0.98663926002055502"/>
          <c:h val="0.918750000000000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17A-264B-8744-6CADD62E6E79}"/>
              </c:ext>
            </c:extLst>
          </c:dPt>
          <c:dPt>
            <c:idx val="4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17A-264B-8744-6CADD62E6E79}"/>
              </c:ext>
            </c:extLst>
          </c:dPt>
          <c:dPt>
            <c:idx val="8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17A-264B-8744-6CADD62E6E79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5804477.4614732862</c:v>
                </c:pt>
                <c:pt idx="1">
                  <c:v>5804477.4614732862</c:v>
                </c:pt>
                <c:pt idx="2">
                  <c:v>12037399.271436095</c:v>
                </c:pt>
                <c:pt idx="3">
                  <c:v>13586700.746810973</c:v>
                </c:pt>
                <c:pt idx="4">
                  <c:v>13586700.746810973</c:v>
                </c:pt>
                <c:pt idx="5">
                  <c:v>13586700.746810973</c:v>
                </c:pt>
                <c:pt idx="6">
                  <c:v>27213657.161600679</c:v>
                </c:pt>
                <c:pt idx="7">
                  <c:v>31054716.337863624</c:v>
                </c:pt>
                <c:pt idx="8">
                  <c:v>31054716.337863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17A-264B-8744-6CADD62E6E79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417A-264B-8744-6CADD62E6E79}"/>
              </c:ext>
            </c:extLst>
          </c:dPt>
          <c:dPt>
            <c:idx val="7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417A-264B-8744-6CADD62E6E79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6232921.8099628091</c:v>
                </c:pt>
                <c:pt idx="2">
                  <c:v>2507067.1915246844</c:v>
                </c:pt>
                <c:pt idx="3">
                  <c:v>957765.71614980698</c:v>
                </c:pt>
                <c:pt idx="5">
                  <c:v>13626956.414789706</c:v>
                </c:pt>
                <c:pt idx="6">
                  <c:v>4683845.1500467956</c:v>
                </c:pt>
                <c:pt idx="7">
                  <c:v>842785.97378385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17A-264B-8744-6CADD62E6E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095440"/>
        <c:axId val="1"/>
      </c:barChart>
      <c:catAx>
        <c:axId val="94095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897502.3116474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95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401166558651981E-3"/>
          <c:y val="2.7310924369747899E-2"/>
          <c:w val="0.98651976668826968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CDF-CB4E-9013-A309BBD1BB66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CDF-CB4E-9013-A309BBD1BB66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74408.118491325527</c:v>
                </c:pt>
                <c:pt idx="1">
                  <c:v>19279.794041320682</c:v>
                </c:pt>
                <c:pt idx="2">
                  <c:v>19279.794041320682</c:v>
                </c:pt>
                <c:pt idx="3">
                  <c:v>160990.92351127602</c:v>
                </c:pt>
                <c:pt idx="4">
                  <c:v>160990.92351127602</c:v>
                </c:pt>
                <c:pt idx="5">
                  <c:v>158628.70351127535</c:v>
                </c:pt>
                <c:pt idx="6">
                  <c:v>158628.70351127535</c:v>
                </c:pt>
                <c:pt idx="7">
                  <c:v>173018.85131127574</c:v>
                </c:pt>
                <c:pt idx="8">
                  <c:v>190082.13091127574</c:v>
                </c:pt>
                <c:pt idx="9">
                  <c:v>190082.13091127574</c:v>
                </c:pt>
                <c:pt idx="10">
                  <c:v>165715.41518127359</c:v>
                </c:pt>
                <c:pt idx="11">
                  <c:v>165715.41518127359</c:v>
                </c:pt>
                <c:pt idx="12">
                  <c:v>105664.32195127383</c:v>
                </c:pt>
                <c:pt idx="13">
                  <c:v>105664.32195127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DF-CB4E-9013-A309BBD1BB66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CDF-CB4E-9013-A309BBD1BB6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CDF-CB4E-9013-A309BBD1BB6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CDF-CB4E-9013-A309BBD1BB6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CDF-CB4E-9013-A309BBD1BB6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CDF-CB4E-9013-A309BBD1BB66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CDF-CB4E-9013-A309BBD1BB66}"/>
              </c:ext>
            </c:extLst>
          </c:dPt>
          <c:val>
            <c:numRef>
              <c:f>Sheet1!$A$2:$N$2</c:f>
              <c:numCache>
                <c:formatCode>General</c:formatCode>
                <c:ptCount val="14"/>
                <c:pt idx="1">
                  <c:v>55128.324450004846</c:v>
                </c:pt>
                <c:pt idx="2">
                  <c:v>152951.98876995593</c:v>
                </c:pt>
                <c:pt idx="3">
                  <c:v>11240.859300000593</c:v>
                </c:pt>
                <c:pt idx="4">
                  <c:v>5886</c:v>
                </c:pt>
                <c:pt idx="5">
                  <c:v>8248.2200000006706</c:v>
                </c:pt>
                <c:pt idx="6">
                  <c:v>14390.147800000384</c:v>
                </c:pt>
                <c:pt idx="7">
                  <c:v>33550.370559999719</c:v>
                </c:pt>
                <c:pt idx="8">
                  <c:v>16487.09095999971</c:v>
                </c:pt>
                <c:pt idx="9">
                  <c:v>5250.3666600007564</c:v>
                </c:pt>
                <c:pt idx="10">
                  <c:v>29617.082390002906</c:v>
                </c:pt>
                <c:pt idx="11">
                  <c:v>1447.275490000844</c:v>
                </c:pt>
                <c:pt idx="12">
                  <c:v>61498.36872000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CDF-CB4E-9013-A309BBD1B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967696"/>
        <c:axId val="1"/>
      </c:barChart>
      <c:catAx>
        <c:axId val="99967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6569.221871275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9967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401166558651981E-3"/>
          <c:y val="7.9980129160457034E-2"/>
          <c:w val="0.98651976668826968"/>
          <c:h val="0.894187779433681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AB9-4D47-B1C3-D7646729113F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AB9-4D47-B1C3-D7646729113F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129535.10294117779</c:v>
                </c:pt>
                <c:pt idx="1">
                  <c:v>129535.10294117779</c:v>
                </c:pt>
                <c:pt idx="2">
                  <c:v>334069.10294117779</c:v>
                </c:pt>
                <c:pt idx="3">
                  <c:v>1059895.1029411778</c:v>
                </c:pt>
                <c:pt idx="4">
                  <c:v>1039309.1029411778</c:v>
                </c:pt>
                <c:pt idx="5">
                  <c:v>1032425.1029411778</c:v>
                </c:pt>
                <c:pt idx="6">
                  <c:v>1032425.1029411778</c:v>
                </c:pt>
                <c:pt idx="7">
                  <c:v>1043665.1029411778</c:v>
                </c:pt>
                <c:pt idx="8">
                  <c:v>1066587.1029411778</c:v>
                </c:pt>
                <c:pt idx="9">
                  <c:v>1105776.1029411778</c:v>
                </c:pt>
                <c:pt idx="10">
                  <c:v>1222750.1029411778</c:v>
                </c:pt>
                <c:pt idx="11">
                  <c:v>1386476.1029411778</c:v>
                </c:pt>
                <c:pt idx="12">
                  <c:v>1373711.1029411778</c:v>
                </c:pt>
                <c:pt idx="13">
                  <c:v>1373711.1029411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B9-4D47-B1C3-D7646729113F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AB9-4D47-B1C3-D7646729113F}"/>
              </c:ext>
            </c:extLst>
          </c:dPt>
          <c:dPt>
            <c:idx val="4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AB9-4D47-B1C3-D7646729113F}"/>
              </c:ext>
            </c:extLst>
          </c:dPt>
          <c:dPt>
            <c:idx val="5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AB9-4D47-B1C3-D7646729113F}"/>
              </c:ext>
            </c:extLst>
          </c:dPt>
          <c:dPt>
            <c:idx val="11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4AB9-4D47-B1C3-D7646729113F}"/>
              </c:ext>
            </c:extLst>
          </c:dPt>
          <c:dPt>
            <c:idx val="12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AB9-4D47-B1C3-D7646729113F}"/>
              </c:ext>
            </c:extLst>
          </c:dPt>
          <c:dLbls>
            <c:dLbl>
              <c:idx val="6"/>
              <c:layout>
                <c:manualLayout>
                  <c:x val="0"/>
                  <c:y val="-4.37158469945355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AB9-4D47-B1C3-D7646729113F}"/>
                </c:ext>
              </c:extLst>
            </c:dLbl>
            <c:dLbl>
              <c:idx val="7"/>
              <c:layout>
                <c:manualLayout>
                  <c:x val="0"/>
                  <c:y val="-4.71932439145553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AB9-4D47-B1C3-D7646729113F}"/>
                </c:ext>
              </c:extLst>
            </c:dLbl>
            <c:dLbl>
              <c:idx val="8"/>
              <c:layout>
                <c:manualLayout>
                  <c:x val="0"/>
                  <c:y val="-5.2160953800298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AB9-4D47-B1C3-D7646729113F}"/>
                </c:ext>
              </c:extLst>
            </c:dLbl>
            <c:dLbl>
              <c:idx val="9"/>
              <c:layout>
                <c:manualLayout>
                  <c:x val="0"/>
                  <c:y val="-7.749627421758568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AB9-4D47-B1C3-D7646729113F}"/>
                </c:ext>
              </c:extLst>
            </c:dLbl>
            <c:dLbl>
              <c:idx val="10"/>
              <c:layout>
                <c:manualLayout>
                  <c:x val="0"/>
                  <c:y val="-9.28961748633879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AB9-4D47-B1C3-D7646729113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N$2</c:f>
              <c:numCache>
                <c:formatCode>General</c:formatCode>
                <c:ptCount val="14"/>
                <c:pt idx="1">
                  <c:v>204534</c:v>
                </c:pt>
                <c:pt idx="2">
                  <c:v>727445</c:v>
                </c:pt>
                <c:pt idx="3">
                  <c:v>1619</c:v>
                </c:pt>
                <c:pt idx="4">
                  <c:v>20586</c:v>
                </c:pt>
                <c:pt idx="5">
                  <c:v>6884</c:v>
                </c:pt>
                <c:pt idx="6">
                  <c:v>11240</c:v>
                </c:pt>
                <c:pt idx="7">
                  <c:v>22922</c:v>
                </c:pt>
                <c:pt idx="8">
                  <c:v>39189</c:v>
                </c:pt>
                <c:pt idx="9">
                  <c:v>116974</c:v>
                </c:pt>
                <c:pt idx="10">
                  <c:v>165126</c:v>
                </c:pt>
                <c:pt idx="11">
                  <c:v>1400</c:v>
                </c:pt>
                <c:pt idx="12">
                  <c:v>12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AB9-4D47-B1C3-D764672911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691600"/>
        <c:axId val="1"/>
      </c:barChart>
      <c:catAx>
        <c:axId val="99691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7876.102941177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9691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301047569981112E-3"/>
          <c:y val="7.9980129160457034E-2"/>
          <c:w val="0.98213979048600375"/>
          <c:h val="0.894187779433681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49A-2F4D-9372-00533708177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49A-2F4D-9372-00533708177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49A-2F4D-9372-00533708177B}"/>
              </c:ext>
            </c:extLst>
          </c:dPt>
          <c:dLbls>
            <c:dLbl>
              <c:idx val="0"/>
              <c:layout>
                <c:manualLayout>
                  <c:x val="0"/>
                  <c:y val="-0.44311972180824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9A-2F4D-9372-00533708177B}"/>
                </c:ext>
              </c:extLst>
            </c:dLbl>
            <c:dLbl>
              <c:idx val="4"/>
              <c:layout>
                <c:manualLayout>
                  <c:x val="0"/>
                  <c:y val="-0.444113263785394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49A-2F4D-9372-00533708177B}"/>
                </c:ext>
              </c:extLst>
            </c:dLbl>
            <c:dLbl>
              <c:idx val="8"/>
              <c:layout>
                <c:manualLayout>
                  <c:x val="0"/>
                  <c:y val="-0.486835568802781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49A-2F4D-9372-0053370817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11739237.492489895</c:v>
                </c:pt>
                <c:pt idx="1">
                  <c:v>11739237.492489895</c:v>
                </c:pt>
                <c:pt idx="2">
                  <c:v>11823458.077509845</c:v>
                </c:pt>
                <c:pt idx="3">
                  <c:v>11770493.695949841</c:v>
                </c:pt>
                <c:pt idx="4">
                  <c:v>11770493.695949841</c:v>
                </c:pt>
                <c:pt idx="5">
                  <c:v>11770493.695949841</c:v>
                </c:pt>
                <c:pt idx="6">
                  <c:v>12673383.148859913</c:v>
                </c:pt>
                <c:pt idx="7">
                  <c:v>12746733.593979912</c:v>
                </c:pt>
                <c:pt idx="8">
                  <c:v>13014668.407369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9A-2F4D-9372-00533708177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6"/>
              <c:layout>
                <c:manualLayout>
                  <c:x val="0"/>
                  <c:y val="-4.2225534028812718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49A-2F4D-9372-00533708177B}"/>
                </c:ext>
              </c:extLst>
            </c:dLbl>
            <c:dLbl>
              <c:idx val="7"/>
              <c:layout>
                <c:manualLayout>
                  <c:x val="0"/>
                  <c:y val="-4.9180327868852458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49A-2F4D-9372-0053370817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1">
                  <c:v>84220.585019949824</c:v>
                </c:pt>
                <c:pt idx="2">
                  <c:v>31453.427400000393</c:v>
                </c:pt>
                <c:pt idx="3">
                  <c:v>84417.808960003778</c:v>
                </c:pt>
                <c:pt idx="5">
                  <c:v>902889.45291007124</c:v>
                </c:pt>
                <c:pt idx="6">
                  <c:v>73350.445119999349</c:v>
                </c:pt>
                <c:pt idx="7">
                  <c:v>267934.81339000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49A-2F4D-9372-0053370817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343616"/>
        <c:axId val="1"/>
      </c:barChart>
      <c:catAx>
        <c:axId val="92343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14668.4073699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2343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6402E9-28D3-E34F-AD05-074A880517F1}" type="datetimeFigureOut">
              <a:rPr lang="en-US" smtClean="0"/>
              <a:t>11/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52BE54-716D-E247-AA3B-33905F0830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721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F07A4-C066-4727-B8EA-86300723FF6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170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099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crease in the months of Fall</a:t>
            </a:r>
          </a:p>
          <a:p>
            <a:r>
              <a:rPr lang="en-GB" dirty="0"/>
              <a:t>Increase in December (Christmas)</a:t>
            </a:r>
          </a:p>
          <a:p>
            <a:r>
              <a:rPr lang="en-GB" dirty="0"/>
              <a:t>Predicted values based on an Arima (0,0,0) (0,1,0) – best model we could have- mean is not constant for each sea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444F5-5C8E-4586-A505-F81AD30B8B2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8336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6999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2A053-9E28-4D4C-B446-3C2814735B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062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270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847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382908-F0B5-1548-9905-7DBB98BA5A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F450AF-1FD3-CA4C-9F0F-E8C87BA7F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752B5-CC80-544C-A664-1CA8D5D29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E868E-0E2C-1B4A-B6B1-1C417F4C0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58F193-AF0A-164D-918D-6694ECC8A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356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E0C6F-110E-1E4E-97FA-27D8336E1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3AA978-6FD6-4247-A100-74A4465D6D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29C01C-5FCB-D74D-A3E6-576CE117BE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DADD86-E356-B145-8038-F959C4E85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E95251-BF06-F247-B0B1-DCE58B201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769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327400"/>
            <a:ext cx="12192000" cy="35306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tIns="0" bIns="182880" anchor="b"/>
          <a:lstStyle>
            <a:lvl1pPr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9902038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7580556" y="1527993"/>
            <a:ext cx="2354081" cy="3866200"/>
          </a:xfrm>
          <a:custGeom>
            <a:avLst/>
            <a:gdLst>
              <a:gd name="connsiteX0" fmla="*/ 1765561 w 1765561"/>
              <a:gd name="connsiteY0" fmla="*/ 0 h 2899650"/>
              <a:gd name="connsiteX1" fmla="*/ 1765561 w 1765561"/>
              <a:gd name="connsiteY1" fmla="*/ 2899650 h 2899650"/>
              <a:gd name="connsiteX2" fmla="*/ 0 w 1765561"/>
              <a:gd name="connsiteY2" fmla="*/ 2899650 h 2899650"/>
              <a:gd name="connsiteX3" fmla="*/ 0 w 1765561"/>
              <a:gd name="connsiteY3" fmla="*/ 2832 h 289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5561" h="2899650">
                <a:moveTo>
                  <a:pt x="1765561" y="0"/>
                </a:moveTo>
                <a:lnTo>
                  <a:pt x="1765561" y="2899650"/>
                </a:lnTo>
                <a:lnTo>
                  <a:pt x="0" y="2899650"/>
                </a:lnTo>
                <a:lnTo>
                  <a:pt x="0" y="28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09926577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6306909" y="1893303"/>
            <a:ext cx="4628824" cy="2609836"/>
          </a:xfrm>
          <a:custGeom>
            <a:avLst/>
            <a:gdLst>
              <a:gd name="connsiteX0" fmla="*/ 0 w 3471618"/>
              <a:gd name="connsiteY0" fmla="*/ 0 h 1957377"/>
              <a:gd name="connsiteX1" fmla="*/ 3471618 w 3471618"/>
              <a:gd name="connsiteY1" fmla="*/ 0 h 1957377"/>
              <a:gd name="connsiteX2" fmla="*/ 3471618 w 3471618"/>
              <a:gd name="connsiteY2" fmla="*/ 1957377 h 1957377"/>
              <a:gd name="connsiteX3" fmla="*/ 0 w 3471618"/>
              <a:gd name="connsiteY3" fmla="*/ 1957377 h 195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1618" h="1957377">
                <a:moveTo>
                  <a:pt x="0" y="0"/>
                </a:moveTo>
                <a:lnTo>
                  <a:pt x="3471618" y="0"/>
                </a:lnTo>
                <a:lnTo>
                  <a:pt x="3471618" y="1957377"/>
                </a:lnTo>
                <a:lnTo>
                  <a:pt x="0" y="19573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8260666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1464181" y="2141140"/>
            <a:ext cx="3934571" cy="2427291"/>
          </a:xfrm>
          <a:custGeom>
            <a:avLst/>
            <a:gdLst>
              <a:gd name="connsiteX0" fmla="*/ 0 w 2950928"/>
              <a:gd name="connsiteY0" fmla="*/ 0 h 1820468"/>
              <a:gd name="connsiteX1" fmla="*/ 2950928 w 2950928"/>
              <a:gd name="connsiteY1" fmla="*/ 0 h 1820468"/>
              <a:gd name="connsiteX2" fmla="*/ 2950928 w 2950928"/>
              <a:gd name="connsiteY2" fmla="*/ 1820468 h 1820468"/>
              <a:gd name="connsiteX3" fmla="*/ 0 w 2950928"/>
              <a:gd name="connsiteY3" fmla="*/ 1820468 h 1820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0928" h="1820468">
                <a:moveTo>
                  <a:pt x="0" y="0"/>
                </a:moveTo>
                <a:lnTo>
                  <a:pt x="2950928" y="0"/>
                </a:lnTo>
                <a:lnTo>
                  <a:pt x="2950928" y="1820468"/>
                </a:lnTo>
                <a:lnTo>
                  <a:pt x="0" y="1820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88906393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1" name="Picture Placeholder 80"/>
          <p:cNvSpPr>
            <a:spLocks noGrp="1"/>
          </p:cNvSpPr>
          <p:nvPr>
            <p:ph type="pic" sz="quarter" idx="13" hasCustomPrompt="1"/>
          </p:nvPr>
        </p:nvSpPr>
        <p:spPr>
          <a:xfrm>
            <a:off x="568563" y="2608793"/>
            <a:ext cx="4247672" cy="2333531"/>
          </a:xfrm>
          <a:custGeom>
            <a:avLst/>
            <a:gdLst>
              <a:gd name="connsiteX0" fmla="*/ 0 w 3185754"/>
              <a:gd name="connsiteY0" fmla="*/ 0 h 1750148"/>
              <a:gd name="connsiteX1" fmla="*/ 3185754 w 3185754"/>
              <a:gd name="connsiteY1" fmla="*/ 0 h 1750148"/>
              <a:gd name="connsiteX2" fmla="*/ 3185754 w 3185754"/>
              <a:gd name="connsiteY2" fmla="*/ 1720851 h 1750148"/>
              <a:gd name="connsiteX3" fmla="*/ 3156457 w 3185754"/>
              <a:gd name="connsiteY3" fmla="*/ 1750148 h 1750148"/>
              <a:gd name="connsiteX4" fmla="*/ 29297 w 3185754"/>
              <a:gd name="connsiteY4" fmla="*/ 1750148 h 1750148"/>
              <a:gd name="connsiteX5" fmla="*/ 0 w 3185754"/>
              <a:gd name="connsiteY5" fmla="*/ 1720851 h 1750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5754" h="1750148">
                <a:moveTo>
                  <a:pt x="0" y="0"/>
                </a:moveTo>
                <a:lnTo>
                  <a:pt x="3185754" y="0"/>
                </a:lnTo>
                <a:lnTo>
                  <a:pt x="3185754" y="1720851"/>
                </a:lnTo>
                <a:cubicBezTo>
                  <a:pt x="3185754" y="1737031"/>
                  <a:pt x="3172637" y="1750148"/>
                  <a:pt x="3156457" y="1750148"/>
                </a:cubicBezTo>
                <a:lnTo>
                  <a:pt x="29297" y="1750148"/>
                </a:lnTo>
                <a:cubicBezTo>
                  <a:pt x="13117" y="1750148"/>
                  <a:pt x="0" y="1737031"/>
                  <a:pt x="0" y="172085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0" name="Picture Placeholder 79"/>
          <p:cNvSpPr>
            <a:spLocks noGrp="1"/>
          </p:cNvSpPr>
          <p:nvPr>
            <p:ph type="pic" sz="quarter" idx="14" hasCustomPrompt="1"/>
          </p:nvPr>
        </p:nvSpPr>
        <p:spPr>
          <a:xfrm>
            <a:off x="7375763" y="2608793"/>
            <a:ext cx="4247672" cy="2333531"/>
          </a:xfrm>
          <a:custGeom>
            <a:avLst/>
            <a:gdLst>
              <a:gd name="connsiteX0" fmla="*/ 0 w 3185754"/>
              <a:gd name="connsiteY0" fmla="*/ 0 h 1750148"/>
              <a:gd name="connsiteX1" fmla="*/ 3185754 w 3185754"/>
              <a:gd name="connsiteY1" fmla="*/ 0 h 1750148"/>
              <a:gd name="connsiteX2" fmla="*/ 3185754 w 3185754"/>
              <a:gd name="connsiteY2" fmla="*/ 1720851 h 1750148"/>
              <a:gd name="connsiteX3" fmla="*/ 3156457 w 3185754"/>
              <a:gd name="connsiteY3" fmla="*/ 1750148 h 1750148"/>
              <a:gd name="connsiteX4" fmla="*/ 29297 w 3185754"/>
              <a:gd name="connsiteY4" fmla="*/ 1750148 h 1750148"/>
              <a:gd name="connsiteX5" fmla="*/ 0 w 3185754"/>
              <a:gd name="connsiteY5" fmla="*/ 1720851 h 1750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5754" h="1750148">
                <a:moveTo>
                  <a:pt x="0" y="0"/>
                </a:moveTo>
                <a:lnTo>
                  <a:pt x="3185754" y="0"/>
                </a:lnTo>
                <a:lnTo>
                  <a:pt x="3185754" y="1720851"/>
                </a:lnTo>
                <a:cubicBezTo>
                  <a:pt x="3185754" y="1737031"/>
                  <a:pt x="3172637" y="1750148"/>
                  <a:pt x="3156457" y="1750148"/>
                </a:cubicBezTo>
                <a:lnTo>
                  <a:pt x="29297" y="1750148"/>
                </a:lnTo>
                <a:cubicBezTo>
                  <a:pt x="13117" y="1750148"/>
                  <a:pt x="0" y="1737031"/>
                  <a:pt x="0" y="172085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3" name="Picture Placeholder 82"/>
          <p:cNvSpPr>
            <a:spLocks noGrp="1"/>
          </p:cNvSpPr>
          <p:nvPr>
            <p:ph type="pic" sz="quarter" idx="12" hasCustomPrompt="1"/>
          </p:nvPr>
        </p:nvSpPr>
        <p:spPr>
          <a:xfrm>
            <a:off x="3488061" y="2297619"/>
            <a:ext cx="5203408" cy="2858581"/>
          </a:xfrm>
          <a:custGeom>
            <a:avLst/>
            <a:gdLst>
              <a:gd name="connsiteX0" fmla="*/ 0 w 3902556"/>
              <a:gd name="connsiteY0" fmla="*/ 0 h 2143936"/>
              <a:gd name="connsiteX1" fmla="*/ 3902556 w 3902556"/>
              <a:gd name="connsiteY1" fmla="*/ 0 h 2143936"/>
              <a:gd name="connsiteX2" fmla="*/ 3902556 w 3902556"/>
              <a:gd name="connsiteY2" fmla="*/ 2108047 h 2143936"/>
              <a:gd name="connsiteX3" fmla="*/ 3866667 w 3902556"/>
              <a:gd name="connsiteY3" fmla="*/ 2143936 h 2143936"/>
              <a:gd name="connsiteX4" fmla="*/ 35889 w 3902556"/>
              <a:gd name="connsiteY4" fmla="*/ 2143936 h 2143936"/>
              <a:gd name="connsiteX5" fmla="*/ 0 w 3902556"/>
              <a:gd name="connsiteY5" fmla="*/ 2108047 h 2143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2556" h="2143936">
                <a:moveTo>
                  <a:pt x="0" y="0"/>
                </a:moveTo>
                <a:lnTo>
                  <a:pt x="3902556" y="0"/>
                </a:lnTo>
                <a:lnTo>
                  <a:pt x="3902556" y="2108047"/>
                </a:lnTo>
                <a:cubicBezTo>
                  <a:pt x="3902556" y="2127868"/>
                  <a:pt x="3886488" y="2143936"/>
                  <a:pt x="3866667" y="2143936"/>
                </a:cubicBezTo>
                <a:lnTo>
                  <a:pt x="35889" y="2143936"/>
                </a:lnTo>
                <a:cubicBezTo>
                  <a:pt x="16068" y="2143936"/>
                  <a:pt x="0" y="2127868"/>
                  <a:pt x="0" y="210804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586463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4837747" y="1395195"/>
            <a:ext cx="2518529" cy="4136280"/>
          </a:xfrm>
          <a:custGeom>
            <a:avLst/>
            <a:gdLst>
              <a:gd name="connsiteX0" fmla="*/ 1888897 w 1888897"/>
              <a:gd name="connsiteY0" fmla="*/ 0 h 3102210"/>
              <a:gd name="connsiteX1" fmla="*/ 1888897 w 1888897"/>
              <a:gd name="connsiteY1" fmla="*/ 3102210 h 3102210"/>
              <a:gd name="connsiteX2" fmla="*/ 0 w 1888897"/>
              <a:gd name="connsiteY2" fmla="*/ 3102210 h 3102210"/>
              <a:gd name="connsiteX3" fmla="*/ 0 w 1888897"/>
              <a:gd name="connsiteY3" fmla="*/ 3029 h 310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8897" h="3102210">
                <a:moveTo>
                  <a:pt x="1888897" y="0"/>
                </a:moveTo>
                <a:lnTo>
                  <a:pt x="1888897" y="3102210"/>
                </a:lnTo>
                <a:lnTo>
                  <a:pt x="0" y="3102210"/>
                </a:lnTo>
                <a:lnTo>
                  <a:pt x="0" y="30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6795227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2" hasCustomPrompt="1"/>
          </p:nvPr>
        </p:nvSpPr>
        <p:spPr>
          <a:xfrm>
            <a:off x="3767198" y="2456077"/>
            <a:ext cx="2055732" cy="3376211"/>
          </a:xfrm>
          <a:custGeom>
            <a:avLst/>
            <a:gdLst>
              <a:gd name="connsiteX0" fmla="*/ 1541799 w 1541799"/>
              <a:gd name="connsiteY0" fmla="*/ 0 h 2532158"/>
              <a:gd name="connsiteX1" fmla="*/ 1541799 w 1541799"/>
              <a:gd name="connsiteY1" fmla="*/ 2532158 h 2532158"/>
              <a:gd name="connsiteX2" fmla="*/ 0 w 1541799"/>
              <a:gd name="connsiteY2" fmla="*/ 2532158 h 2532158"/>
              <a:gd name="connsiteX3" fmla="*/ 0 w 1541799"/>
              <a:gd name="connsiteY3" fmla="*/ 2473 h 2532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1799" h="2532158">
                <a:moveTo>
                  <a:pt x="1541799" y="0"/>
                </a:moveTo>
                <a:lnTo>
                  <a:pt x="1541799" y="2532158"/>
                </a:lnTo>
                <a:lnTo>
                  <a:pt x="0" y="2532158"/>
                </a:lnTo>
                <a:lnTo>
                  <a:pt x="0" y="24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3" hasCustomPrompt="1"/>
          </p:nvPr>
        </p:nvSpPr>
        <p:spPr>
          <a:xfrm>
            <a:off x="6370721" y="2456077"/>
            <a:ext cx="2055732" cy="3376211"/>
          </a:xfrm>
          <a:custGeom>
            <a:avLst/>
            <a:gdLst>
              <a:gd name="connsiteX0" fmla="*/ 1541799 w 1541799"/>
              <a:gd name="connsiteY0" fmla="*/ 0 h 2532158"/>
              <a:gd name="connsiteX1" fmla="*/ 1541799 w 1541799"/>
              <a:gd name="connsiteY1" fmla="*/ 2532158 h 2532158"/>
              <a:gd name="connsiteX2" fmla="*/ 0 w 1541799"/>
              <a:gd name="connsiteY2" fmla="*/ 2532158 h 2532158"/>
              <a:gd name="connsiteX3" fmla="*/ 0 w 1541799"/>
              <a:gd name="connsiteY3" fmla="*/ 2473 h 2532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1799" h="2532158">
                <a:moveTo>
                  <a:pt x="1541799" y="0"/>
                </a:moveTo>
                <a:lnTo>
                  <a:pt x="1541799" y="2532158"/>
                </a:lnTo>
                <a:lnTo>
                  <a:pt x="0" y="2532158"/>
                </a:lnTo>
                <a:lnTo>
                  <a:pt x="0" y="24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2721749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670507" y="1058543"/>
            <a:ext cx="3753101" cy="4710892"/>
          </a:xfrm>
          <a:custGeom>
            <a:avLst/>
            <a:gdLst>
              <a:gd name="connsiteX0" fmla="*/ 15682 w 2814826"/>
              <a:gd name="connsiteY0" fmla="*/ 0 h 3533169"/>
              <a:gd name="connsiteX1" fmla="*/ 2801758 w 2814826"/>
              <a:gd name="connsiteY1" fmla="*/ 2611 h 3533169"/>
              <a:gd name="connsiteX2" fmla="*/ 2814826 w 2814826"/>
              <a:gd name="connsiteY2" fmla="*/ 18280 h 3533169"/>
              <a:gd name="connsiteX3" fmla="*/ 2814826 w 2814826"/>
              <a:gd name="connsiteY3" fmla="*/ 3520112 h 3533169"/>
              <a:gd name="connsiteX4" fmla="*/ 2799145 w 2814826"/>
              <a:gd name="connsiteY4" fmla="*/ 3533169 h 3533169"/>
              <a:gd name="connsiteX5" fmla="*/ 15682 w 2814826"/>
              <a:gd name="connsiteY5" fmla="*/ 3533169 h 3533169"/>
              <a:gd name="connsiteX6" fmla="*/ 0 w 2814826"/>
              <a:gd name="connsiteY6" fmla="*/ 3517501 h 3533169"/>
              <a:gd name="connsiteX7" fmla="*/ 2614 w 2814826"/>
              <a:gd name="connsiteY7" fmla="*/ 15668 h 3533169"/>
              <a:gd name="connsiteX8" fmla="*/ 15682 w 2814826"/>
              <a:gd name="connsiteY8" fmla="*/ 0 h 3533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14826" h="3533169">
                <a:moveTo>
                  <a:pt x="15682" y="0"/>
                </a:moveTo>
                <a:cubicBezTo>
                  <a:pt x="2801758" y="2611"/>
                  <a:pt x="2801758" y="2611"/>
                  <a:pt x="2801758" y="2611"/>
                </a:cubicBezTo>
                <a:cubicBezTo>
                  <a:pt x="2809599" y="2611"/>
                  <a:pt x="2814826" y="7834"/>
                  <a:pt x="2814826" y="18280"/>
                </a:cubicBezTo>
                <a:cubicBezTo>
                  <a:pt x="2814826" y="3520112"/>
                  <a:pt x="2814826" y="3520112"/>
                  <a:pt x="2814826" y="3520112"/>
                </a:cubicBezTo>
                <a:cubicBezTo>
                  <a:pt x="2814826" y="3527946"/>
                  <a:pt x="2806985" y="3533169"/>
                  <a:pt x="2799145" y="3533169"/>
                </a:cubicBezTo>
                <a:cubicBezTo>
                  <a:pt x="15682" y="3533169"/>
                  <a:pt x="15682" y="3533169"/>
                  <a:pt x="15682" y="3533169"/>
                </a:cubicBezTo>
                <a:cubicBezTo>
                  <a:pt x="7841" y="3533169"/>
                  <a:pt x="0" y="3525335"/>
                  <a:pt x="0" y="3517501"/>
                </a:cubicBezTo>
                <a:cubicBezTo>
                  <a:pt x="2614" y="15668"/>
                  <a:pt x="2614" y="15668"/>
                  <a:pt x="2614" y="15668"/>
                </a:cubicBezTo>
                <a:cubicBezTo>
                  <a:pt x="2614" y="7834"/>
                  <a:pt x="7841" y="0"/>
                  <a:pt x="15682" y="0"/>
                </a:cubicBez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lIns="0" tIns="91440" rIns="0" bIns="548640" anchor="b">
            <a:noAutofit/>
          </a:bodyPr>
          <a:lstStyle>
            <a:lvl1pPr algn="ctr" rtl="0">
              <a:buNone/>
              <a:defRPr sz="14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01" y="1178427"/>
            <a:ext cx="6585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5080001" y="455085"/>
            <a:ext cx="6585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44226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>
              <a:defRPr/>
            </a:pPr>
            <a:fld id="{4928BA71-416E-416B-8578-2574ECF2502B}" type="datetime1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14377">
                <a:defRPr/>
              </a:pPr>
              <a:t>11/7/19</a:t>
            </a:fld>
            <a:endParaRPr lang="en-US" sz="120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914377">
              <a:defRPr/>
            </a:pPr>
            <a:r>
              <a:rPr lang="en-US" sz="120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OMPANY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 defTabSz="914377">
              <a:defRPr/>
            </a:pPr>
            <a:fld id="{8A7BE278-F7AB-4BF1-B842-60CCFEFCB7EC}" type="slidenum">
              <a:rPr lang="en-US" sz="1400" smtClean="0">
                <a:solidFill>
                  <a:prstClr val="white"/>
                </a:solidFill>
                <a:latin typeface="Cambria" panose="02040503050406030204" pitchFamily="18" charset="0"/>
              </a:rPr>
              <a:pPr algn="ctr" defTabSz="914377">
                <a:defRPr/>
              </a:pPr>
              <a:t>‹#›</a:t>
            </a:fld>
            <a:endParaRPr lang="en-US" sz="140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9902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4B8AA38-6F73-4586-B483-53523EF1116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703761" y="2024522"/>
            <a:ext cx="2841651" cy="1773534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35ECBCE-7512-4811-A88A-61113AE75F7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661729" y="2024522"/>
            <a:ext cx="2841651" cy="1773534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89E65B-19FF-4927-98A8-4E005823E9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619697" y="2024522"/>
            <a:ext cx="2841651" cy="1773534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4216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FDBB58-4CCF-814A-91EB-56A1933033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FB38CD-E0A0-FD4C-B921-03D97AAE28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AAC3E8-270B-0D49-924A-A435FA6D0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D13EF1-7EC8-2143-B79F-B64A6CFD8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41A435-F0A1-6447-80A8-58521F31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2115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07A3A-3D00-A94E-BF27-4A278260C4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784EA6-6CC2-A641-BBD0-3A164702D3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4A7053-F4DB-0749-9768-BB0A71E70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C3795F-1305-3949-B70D-791CE705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48DF6-C726-8C40-B278-E323790A0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31016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70DC4-8F4D-474F-8838-F6F6F8992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D92391-9C30-A447-9F93-44C9A0C46B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F98A7D-841A-BF4C-9DF5-D302B4079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1463E2-E7B8-4245-A397-4E05C4E5E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5722CF-1110-F447-8ED1-4331CBE4E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8958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A96C7A-0B88-6B45-94D0-25D1D3FF7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3BD71-6369-DC4A-8F40-0276B7F4DF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67EE44-DCFB-A647-8B89-CF237972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D43C68-EE19-D94A-874B-E78D26D85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45CD0E-86DB-4C4B-98B7-A25B6F6CB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09781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9E43B-1B7C-7747-9AA0-E32BA7015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E37655-1A9B-EB40-BC33-DC5AF95380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53C7AD-916E-6B49-A641-095A70971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82723D-5775-B441-B53A-ADD07667C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78D4A9-B422-FC45-9203-41FA2F71B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1E849A-8224-C54B-B399-B2037794D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74504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C6F9C-AC4E-5B4B-A362-CF4E8D21A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A80892-936E-944E-B87E-79B07312DE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182FCE-8CA0-B047-BDB2-6214068312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49846E-C688-C549-BFD0-CD5FB5F62E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F5F161-5A0F-2C44-8FB4-9761E78551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33F510-0AF5-1345-9725-CB3B851DE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506F4B-7D12-6D48-B605-2EF3E244A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DC2CCB-6DC4-274C-A404-D6719A0CE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09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B221B1-76AA-5B4B-913D-B55A116BA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CD175C-65C8-F44A-867D-BB674F300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9555B7-C4D2-7B45-9532-1C58BB92B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7D7979-CC0A-E347-95F3-48B7F89AF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842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02DAFC-A573-E64F-9839-FD05154FD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2BB0E-5655-C043-AD6F-85DBB3FBC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3D26EA-47BB-024D-AD5F-1A85F55FE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4679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D686E-D57B-4843-AFF0-83E45333A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D85ED4-51EB-C940-8A70-6634A331F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56769C-9CAE-0D49-8C79-27E55C2A72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F76F7A-5A02-C947-B999-F4E1DE95C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422996-0213-3646-B673-C1F4D56F5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B9448F-379B-B64C-B70E-7425A6BA6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7665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03144-F34C-EA44-93C0-90B888AE9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8396DE-0299-034A-B3E7-299097D94E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D500E8-4647-834D-9064-4DD0B1B1DF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5AB08A-354C-7844-B0CB-D2B9FFD5F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C44C5D-56A3-D541-9103-783BE15C2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ED30D8-0960-704E-B7E6-75A6FD683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16143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07464-E60B-C344-B86E-1B7E950F8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B7336F-B104-CC44-89E5-B79AFD6444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01965D-3D01-6C4F-ACAD-1D98572EA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A0BBC-9060-EA49-93FA-D19C8FB30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FBC3B-BEA6-0D4E-9584-B68794ABD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6573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4FCF9F-099A-4841-A0D2-1F9406BC929F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10685" y="1000878"/>
            <a:ext cx="4693708" cy="4694319"/>
          </a:xfrm>
          <a:custGeom>
            <a:avLst/>
            <a:gdLst>
              <a:gd name="connsiteX0" fmla="*/ 4694318 w 9388638"/>
              <a:gd name="connsiteY0" fmla="*/ 0 h 9388637"/>
              <a:gd name="connsiteX1" fmla="*/ 5269760 w 9388638"/>
              <a:gd name="connsiteY1" fmla="*/ 238356 h 9388637"/>
              <a:gd name="connsiteX2" fmla="*/ 9150282 w 9388638"/>
              <a:gd name="connsiteY2" fmla="*/ 4118877 h 9388637"/>
              <a:gd name="connsiteX3" fmla="*/ 9150282 w 9388638"/>
              <a:gd name="connsiteY3" fmla="*/ 5269761 h 9388637"/>
              <a:gd name="connsiteX4" fmla="*/ 5269760 w 9388638"/>
              <a:gd name="connsiteY4" fmla="*/ 9150281 h 9388637"/>
              <a:gd name="connsiteX5" fmla="*/ 4118876 w 9388638"/>
              <a:gd name="connsiteY5" fmla="*/ 9150281 h 9388637"/>
              <a:gd name="connsiteX6" fmla="*/ 238356 w 9388638"/>
              <a:gd name="connsiteY6" fmla="*/ 5269761 h 9388637"/>
              <a:gd name="connsiteX7" fmla="*/ 238356 w 9388638"/>
              <a:gd name="connsiteY7" fmla="*/ 4118877 h 9388637"/>
              <a:gd name="connsiteX8" fmla="*/ 4118876 w 9388638"/>
              <a:gd name="connsiteY8" fmla="*/ 238356 h 9388637"/>
              <a:gd name="connsiteX9" fmla="*/ 4694318 w 9388638"/>
              <a:gd name="connsiteY9" fmla="*/ 0 h 938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88638" h="9388637">
                <a:moveTo>
                  <a:pt x="4694318" y="0"/>
                </a:moveTo>
                <a:cubicBezTo>
                  <a:pt x="4902588" y="0"/>
                  <a:pt x="5110856" y="79452"/>
                  <a:pt x="5269760" y="238356"/>
                </a:cubicBezTo>
                <a:lnTo>
                  <a:pt x="9150282" y="4118877"/>
                </a:lnTo>
                <a:cubicBezTo>
                  <a:pt x="9468090" y="4436684"/>
                  <a:pt x="9468090" y="4951953"/>
                  <a:pt x="9150282" y="5269761"/>
                </a:cubicBezTo>
                <a:lnTo>
                  <a:pt x="5269760" y="9150281"/>
                </a:lnTo>
                <a:cubicBezTo>
                  <a:pt x="4951952" y="9468089"/>
                  <a:pt x="4436684" y="9468089"/>
                  <a:pt x="4118876" y="9150281"/>
                </a:cubicBezTo>
                <a:lnTo>
                  <a:pt x="238356" y="5269761"/>
                </a:lnTo>
                <a:cubicBezTo>
                  <a:pt x="-79452" y="4951953"/>
                  <a:pt x="-79452" y="4436684"/>
                  <a:pt x="238356" y="4118877"/>
                </a:cubicBezTo>
                <a:lnTo>
                  <a:pt x="4118876" y="238356"/>
                </a:lnTo>
                <a:cubicBezTo>
                  <a:pt x="4277780" y="79452"/>
                  <a:pt x="4486050" y="0"/>
                  <a:pt x="4694318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8C566A2-1865-41A8-964C-20C135560AD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221540" y="4883266"/>
            <a:ext cx="1196771" cy="1196927"/>
          </a:xfrm>
          <a:custGeom>
            <a:avLst/>
            <a:gdLst>
              <a:gd name="connsiteX0" fmla="*/ 1196926 w 2393853"/>
              <a:gd name="connsiteY0" fmla="*/ 0 h 2393853"/>
              <a:gd name="connsiteX1" fmla="*/ 1545217 w 2393853"/>
              <a:gd name="connsiteY1" fmla="*/ 144267 h 2393853"/>
              <a:gd name="connsiteX2" fmla="*/ 2249586 w 2393853"/>
              <a:gd name="connsiteY2" fmla="*/ 848636 h 2393853"/>
              <a:gd name="connsiteX3" fmla="*/ 2249586 w 2393853"/>
              <a:gd name="connsiteY3" fmla="*/ 1545217 h 2393853"/>
              <a:gd name="connsiteX4" fmla="*/ 1545217 w 2393853"/>
              <a:gd name="connsiteY4" fmla="*/ 2249587 h 2393853"/>
              <a:gd name="connsiteX5" fmla="*/ 848636 w 2393853"/>
              <a:gd name="connsiteY5" fmla="*/ 2249587 h 2393853"/>
              <a:gd name="connsiteX6" fmla="*/ 144267 w 2393853"/>
              <a:gd name="connsiteY6" fmla="*/ 1545217 h 2393853"/>
              <a:gd name="connsiteX7" fmla="*/ 144267 w 2393853"/>
              <a:gd name="connsiteY7" fmla="*/ 848636 h 2393853"/>
              <a:gd name="connsiteX8" fmla="*/ 848636 w 2393853"/>
              <a:gd name="connsiteY8" fmla="*/ 144267 h 2393853"/>
              <a:gd name="connsiteX9" fmla="*/ 1196926 w 2393853"/>
              <a:gd name="connsiteY9" fmla="*/ 0 h 239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93853" h="2393853">
                <a:moveTo>
                  <a:pt x="1196926" y="0"/>
                </a:moveTo>
                <a:cubicBezTo>
                  <a:pt x="1322983" y="0"/>
                  <a:pt x="1449039" y="48089"/>
                  <a:pt x="1545217" y="144267"/>
                </a:cubicBezTo>
                <a:lnTo>
                  <a:pt x="2249586" y="848636"/>
                </a:lnTo>
                <a:cubicBezTo>
                  <a:pt x="2441942" y="1040992"/>
                  <a:pt x="2441942" y="1352861"/>
                  <a:pt x="2249586" y="1545217"/>
                </a:cubicBezTo>
                <a:lnTo>
                  <a:pt x="1545217" y="2249587"/>
                </a:lnTo>
                <a:cubicBezTo>
                  <a:pt x="1352861" y="2441942"/>
                  <a:pt x="1040992" y="2441942"/>
                  <a:pt x="848636" y="2249587"/>
                </a:cubicBezTo>
                <a:lnTo>
                  <a:pt x="144267" y="1545217"/>
                </a:lnTo>
                <a:cubicBezTo>
                  <a:pt x="-48089" y="1352861"/>
                  <a:pt x="-48089" y="1040992"/>
                  <a:pt x="144267" y="848636"/>
                </a:cubicBezTo>
                <a:lnTo>
                  <a:pt x="848636" y="144267"/>
                </a:lnTo>
                <a:cubicBezTo>
                  <a:pt x="944814" y="48089"/>
                  <a:pt x="1070870" y="0"/>
                  <a:pt x="1196926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3CB3305-5B96-425F-A3E4-B051758C6C1D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222925" y="4765070"/>
            <a:ext cx="1196780" cy="1196936"/>
          </a:xfrm>
          <a:custGeom>
            <a:avLst/>
            <a:gdLst>
              <a:gd name="connsiteX0" fmla="*/ 1196935 w 2393871"/>
              <a:gd name="connsiteY0" fmla="*/ 0 h 2393871"/>
              <a:gd name="connsiteX1" fmla="*/ 1545212 w 2393871"/>
              <a:gd name="connsiteY1" fmla="*/ 144261 h 2393871"/>
              <a:gd name="connsiteX2" fmla="*/ 2249610 w 2393871"/>
              <a:gd name="connsiteY2" fmla="*/ 848659 h 2393871"/>
              <a:gd name="connsiteX3" fmla="*/ 2249610 w 2393871"/>
              <a:gd name="connsiteY3" fmla="*/ 1545212 h 2393871"/>
              <a:gd name="connsiteX4" fmla="*/ 1545212 w 2393871"/>
              <a:gd name="connsiteY4" fmla="*/ 2249610 h 2393871"/>
              <a:gd name="connsiteX5" fmla="*/ 848659 w 2393871"/>
              <a:gd name="connsiteY5" fmla="*/ 2249610 h 2393871"/>
              <a:gd name="connsiteX6" fmla="*/ 144261 w 2393871"/>
              <a:gd name="connsiteY6" fmla="*/ 1545212 h 2393871"/>
              <a:gd name="connsiteX7" fmla="*/ 144261 w 2393871"/>
              <a:gd name="connsiteY7" fmla="*/ 848659 h 2393871"/>
              <a:gd name="connsiteX8" fmla="*/ 848659 w 2393871"/>
              <a:gd name="connsiteY8" fmla="*/ 144261 h 2393871"/>
              <a:gd name="connsiteX9" fmla="*/ 1196935 w 2393871"/>
              <a:gd name="connsiteY9" fmla="*/ 0 h 2393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93871" h="2393871">
                <a:moveTo>
                  <a:pt x="1196935" y="0"/>
                </a:moveTo>
                <a:cubicBezTo>
                  <a:pt x="1322987" y="0"/>
                  <a:pt x="1449038" y="48087"/>
                  <a:pt x="1545212" y="144261"/>
                </a:cubicBezTo>
                <a:lnTo>
                  <a:pt x="2249610" y="848659"/>
                </a:lnTo>
                <a:cubicBezTo>
                  <a:pt x="2441958" y="1041007"/>
                  <a:pt x="2441958" y="1352864"/>
                  <a:pt x="2249610" y="1545212"/>
                </a:cubicBezTo>
                <a:lnTo>
                  <a:pt x="1545212" y="2249610"/>
                </a:lnTo>
                <a:cubicBezTo>
                  <a:pt x="1352864" y="2441958"/>
                  <a:pt x="1041007" y="2441958"/>
                  <a:pt x="848659" y="2249610"/>
                </a:cubicBezTo>
                <a:lnTo>
                  <a:pt x="144261" y="1545212"/>
                </a:lnTo>
                <a:cubicBezTo>
                  <a:pt x="-48087" y="1352864"/>
                  <a:pt x="-48087" y="1041007"/>
                  <a:pt x="144261" y="848659"/>
                </a:cubicBezTo>
                <a:lnTo>
                  <a:pt x="848659" y="144261"/>
                </a:lnTo>
                <a:cubicBezTo>
                  <a:pt x="944833" y="48087"/>
                  <a:pt x="1070884" y="0"/>
                  <a:pt x="119693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DADA059-F0F5-47B9-A94F-B5CEEA4871E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05225" y="1267687"/>
            <a:ext cx="1210276" cy="1210435"/>
          </a:xfrm>
          <a:custGeom>
            <a:avLst/>
            <a:gdLst>
              <a:gd name="connsiteX0" fmla="*/ 1210435 w 2420868"/>
              <a:gd name="connsiteY0" fmla="*/ 0 h 2420869"/>
              <a:gd name="connsiteX1" fmla="*/ 1535665 w 2420868"/>
              <a:gd name="connsiteY1" fmla="*/ 134715 h 2420869"/>
              <a:gd name="connsiteX2" fmla="*/ 2286153 w 2420868"/>
              <a:gd name="connsiteY2" fmla="*/ 885204 h 2420869"/>
              <a:gd name="connsiteX3" fmla="*/ 2286153 w 2420868"/>
              <a:gd name="connsiteY3" fmla="*/ 1535665 h 2420869"/>
              <a:gd name="connsiteX4" fmla="*/ 1535665 w 2420868"/>
              <a:gd name="connsiteY4" fmla="*/ 2286154 h 2420869"/>
              <a:gd name="connsiteX5" fmla="*/ 885203 w 2420868"/>
              <a:gd name="connsiteY5" fmla="*/ 2286154 h 2420869"/>
              <a:gd name="connsiteX6" fmla="*/ 134715 w 2420868"/>
              <a:gd name="connsiteY6" fmla="*/ 1535665 h 2420869"/>
              <a:gd name="connsiteX7" fmla="*/ 134715 w 2420868"/>
              <a:gd name="connsiteY7" fmla="*/ 885204 h 2420869"/>
              <a:gd name="connsiteX8" fmla="*/ 885203 w 2420868"/>
              <a:gd name="connsiteY8" fmla="*/ 134715 h 2420869"/>
              <a:gd name="connsiteX9" fmla="*/ 1210435 w 2420868"/>
              <a:gd name="connsiteY9" fmla="*/ 0 h 2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20868" h="2420869">
                <a:moveTo>
                  <a:pt x="1210435" y="0"/>
                </a:moveTo>
                <a:cubicBezTo>
                  <a:pt x="1328145" y="0"/>
                  <a:pt x="1445855" y="44905"/>
                  <a:pt x="1535665" y="134715"/>
                </a:cubicBezTo>
                <a:lnTo>
                  <a:pt x="2286153" y="885204"/>
                </a:lnTo>
                <a:cubicBezTo>
                  <a:pt x="2465773" y="1064824"/>
                  <a:pt x="2465773" y="1356045"/>
                  <a:pt x="2286153" y="1535665"/>
                </a:cubicBezTo>
                <a:lnTo>
                  <a:pt x="1535665" y="2286154"/>
                </a:lnTo>
                <a:cubicBezTo>
                  <a:pt x="1356045" y="2465774"/>
                  <a:pt x="1064823" y="2465774"/>
                  <a:pt x="885203" y="2286154"/>
                </a:cubicBezTo>
                <a:lnTo>
                  <a:pt x="134715" y="1535665"/>
                </a:lnTo>
                <a:cubicBezTo>
                  <a:pt x="-44905" y="1356045"/>
                  <a:pt x="-44905" y="1064824"/>
                  <a:pt x="134715" y="885204"/>
                </a:cubicBezTo>
                <a:lnTo>
                  <a:pt x="885203" y="134715"/>
                </a:lnTo>
                <a:cubicBezTo>
                  <a:pt x="975013" y="44905"/>
                  <a:pt x="1092723" y="0"/>
                  <a:pt x="121043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81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125359D-6218-3E4A-A482-7E078DDEFB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095428-2D45-9141-AAAA-23BFB63CD5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03A0F2-CD34-A14B-9514-A5FA1580E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2C3EEE-2975-3F42-B586-491A93D6C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1117EC-77CA-D643-8A1D-E99A8CFBE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63317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499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53841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87114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38"/>
          </p:nvPr>
        </p:nvSpPr>
        <p:spPr>
          <a:xfrm>
            <a:off x="47898" y="33384"/>
            <a:ext cx="3684105" cy="335275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9"/>
          </p:nvPr>
        </p:nvSpPr>
        <p:spPr>
          <a:xfrm>
            <a:off x="3783356" y="33384"/>
            <a:ext cx="3684105" cy="335275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40"/>
          </p:nvPr>
        </p:nvSpPr>
        <p:spPr>
          <a:xfrm>
            <a:off x="3783356" y="3429000"/>
            <a:ext cx="3684105" cy="3384186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41"/>
          </p:nvPr>
        </p:nvSpPr>
        <p:spPr>
          <a:xfrm>
            <a:off x="47898" y="3429000"/>
            <a:ext cx="3684105" cy="3384186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0472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20A1C01-5A8D-4D28-BD2A-5F7CD77A5EE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06293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FA33A9A-7C63-48CF-80D3-E8B89809C8F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12586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2BA50BE-6CD6-438C-ABA3-F0CA17693FC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B1D48CD9-A0E5-4ECB-A530-D4DAC86466F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062931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3736B91-70C5-47D4-915B-F2450F410B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88792" y="0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F9A97A3-008B-4DBE-8BA2-2FBF3BDFE4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125861" y="3458865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6927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4" grpId="0" animBg="1"/>
      <p:bldP spid="35" grpId="0" animBg="1"/>
      <p:bldP spid="33" grpId="0" animBg="1"/>
      <p:bldP spid="36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20A1C01-5A8D-4D28-BD2A-5F7CD77A5EE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06293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FA33A9A-7C63-48CF-80D3-E8B89809C8F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12586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2BA50BE-6CD6-438C-ABA3-F0CA17693FC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B1D48CD9-A0E5-4ECB-A530-D4DAC86466F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062931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3736B91-70C5-47D4-915B-F2450F410B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88792" y="0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F9A97A3-008B-4DBE-8BA2-2FBF3BDFE4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88792" y="3458865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92507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4" grpId="0" animBg="1"/>
      <p:bldP spid="35" grpId="0" animBg="1"/>
      <p:bldP spid="33" grpId="0" animBg="1"/>
      <p:bldP spid="36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547F1D62-536A-4F79-8D37-91A6FFCF877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441258" y="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9E499711-1E7E-4D76-9F28-10113A27F8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882515" y="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85C28D07-CED7-44E6-9820-1F617E6405B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23771" y="0"/>
            <a:ext cx="2426971" cy="2274570"/>
          </a:xfrm>
          <a:custGeom>
            <a:avLst/>
            <a:gdLst>
              <a:gd name="connsiteX0" fmla="*/ 0 w 4854574"/>
              <a:gd name="connsiteY0" fmla="*/ 0 h 4549140"/>
              <a:gd name="connsiteX1" fmla="*/ 4854574 w 4854574"/>
              <a:gd name="connsiteY1" fmla="*/ 0 h 4549140"/>
              <a:gd name="connsiteX2" fmla="*/ 4854574 w 4854574"/>
              <a:gd name="connsiteY2" fmla="*/ 4549140 h 4549140"/>
              <a:gd name="connsiteX3" fmla="*/ 0 w 4854574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4" h="4549140">
                <a:moveTo>
                  <a:pt x="0" y="0"/>
                </a:moveTo>
                <a:lnTo>
                  <a:pt x="4854574" y="0"/>
                </a:lnTo>
                <a:lnTo>
                  <a:pt x="4854574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7" name="Picture Placeholder 86">
            <a:extLst>
              <a:ext uri="{FF2B5EF4-FFF2-40B4-BE49-F238E27FC236}">
                <a16:creationId xmlns:a16="http://schemas.microsoft.com/office/drawing/2014/main" id="{B81C2D65-5E82-4B96-BA73-1459034AA4E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765028" y="0"/>
            <a:ext cx="2426972" cy="2274570"/>
          </a:xfrm>
          <a:custGeom>
            <a:avLst/>
            <a:gdLst>
              <a:gd name="connsiteX0" fmla="*/ 0 w 4854576"/>
              <a:gd name="connsiteY0" fmla="*/ 0 h 4549140"/>
              <a:gd name="connsiteX1" fmla="*/ 4854576 w 4854576"/>
              <a:gd name="connsiteY1" fmla="*/ 0 h 4549140"/>
              <a:gd name="connsiteX2" fmla="*/ 4854576 w 4854576"/>
              <a:gd name="connsiteY2" fmla="*/ 4549140 h 4549140"/>
              <a:gd name="connsiteX3" fmla="*/ 0 w 4854576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6" h="4549140">
                <a:moveTo>
                  <a:pt x="0" y="0"/>
                </a:moveTo>
                <a:lnTo>
                  <a:pt x="4854576" y="0"/>
                </a:lnTo>
                <a:lnTo>
                  <a:pt x="4854576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F5C9B4A2-BD4C-4613-B1C8-42624644295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0" y="2291715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C1E587B0-5081-4811-BF09-53C52CD79708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441258" y="2291715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90" name="Picture Placeholder 89">
            <a:extLst>
              <a:ext uri="{FF2B5EF4-FFF2-40B4-BE49-F238E27FC236}">
                <a16:creationId xmlns:a16="http://schemas.microsoft.com/office/drawing/2014/main" id="{848F19B3-C3B8-409D-9B9E-FE0E7C5B97CE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882515" y="2291715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2EF10A99-360C-41AA-821D-107E56A62DDD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9765028" y="2291715"/>
            <a:ext cx="2426972" cy="2274570"/>
          </a:xfrm>
          <a:custGeom>
            <a:avLst/>
            <a:gdLst>
              <a:gd name="connsiteX0" fmla="*/ 0 w 4854576"/>
              <a:gd name="connsiteY0" fmla="*/ 0 h 4549140"/>
              <a:gd name="connsiteX1" fmla="*/ 4854576 w 4854576"/>
              <a:gd name="connsiteY1" fmla="*/ 0 h 4549140"/>
              <a:gd name="connsiteX2" fmla="*/ 4854576 w 4854576"/>
              <a:gd name="connsiteY2" fmla="*/ 4549140 h 4549140"/>
              <a:gd name="connsiteX3" fmla="*/ 0 w 4854576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6" h="4549140">
                <a:moveTo>
                  <a:pt x="0" y="0"/>
                </a:moveTo>
                <a:lnTo>
                  <a:pt x="4854576" y="0"/>
                </a:lnTo>
                <a:lnTo>
                  <a:pt x="4854576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F966354A-A564-431F-B7DD-4801994D22F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0" y="458343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95" name="Picture Placeholder 94">
            <a:extLst>
              <a:ext uri="{FF2B5EF4-FFF2-40B4-BE49-F238E27FC236}">
                <a16:creationId xmlns:a16="http://schemas.microsoft.com/office/drawing/2014/main" id="{70153A5C-E9DB-46BD-AF67-D5028191A028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4882515" y="458343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96" name="Picture Placeholder 95">
            <a:extLst>
              <a:ext uri="{FF2B5EF4-FFF2-40B4-BE49-F238E27FC236}">
                <a16:creationId xmlns:a16="http://schemas.microsoft.com/office/drawing/2014/main" id="{F6E16CAF-F7B5-4D3C-A150-056C8546C97D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323771" y="4583430"/>
            <a:ext cx="2426971" cy="2274570"/>
          </a:xfrm>
          <a:custGeom>
            <a:avLst/>
            <a:gdLst>
              <a:gd name="connsiteX0" fmla="*/ 0 w 4854574"/>
              <a:gd name="connsiteY0" fmla="*/ 0 h 4549140"/>
              <a:gd name="connsiteX1" fmla="*/ 4854574 w 4854574"/>
              <a:gd name="connsiteY1" fmla="*/ 0 h 4549140"/>
              <a:gd name="connsiteX2" fmla="*/ 4854574 w 4854574"/>
              <a:gd name="connsiteY2" fmla="*/ 4549140 h 4549140"/>
              <a:gd name="connsiteX3" fmla="*/ 0 w 4854574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4" h="4549140">
                <a:moveTo>
                  <a:pt x="0" y="0"/>
                </a:moveTo>
                <a:lnTo>
                  <a:pt x="4854574" y="0"/>
                </a:lnTo>
                <a:lnTo>
                  <a:pt x="4854574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97" name="Picture Placeholder 96">
            <a:extLst>
              <a:ext uri="{FF2B5EF4-FFF2-40B4-BE49-F238E27FC236}">
                <a16:creationId xmlns:a16="http://schemas.microsoft.com/office/drawing/2014/main" id="{DEA29BFE-0750-4CED-858B-21CC3D43CF99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9765028" y="4583430"/>
            <a:ext cx="2426972" cy="2274570"/>
          </a:xfrm>
          <a:custGeom>
            <a:avLst/>
            <a:gdLst>
              <a:gd name="connsiteX0" fmla="*/ 0 w 4854576"/>
              <a:gd name="connsiteY0" fmla="*/ 0 h 4549140"/>
              <a:gd name="connsiteX1" fmla="*/ 4854576 w 4854576"/>
              <a:gd name="connsiteY1" fmla="*/ 0 h 4549140"/>
              <a:gd name="connsiteX2" fmla="*/ 4854576 w 4854576"/>
              <a:gd name="connsiteY2" fmla="*/ 4549140 h 4549140"/>
              <a:gd name="connsiteX3" fmla="*/ 0 w 4854576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6" h="4549140">
                <a:moveTo>
                  <a:pt x="0" y="0"/>
                </a:moveTo>
                <a:lnTo>
                  <a:pt x="4854576" y="0"/>
                </a:lnTo>
                <a:lnTo>
                  <a:pt x="4854576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92885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28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28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28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28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28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28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28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2" grpId="0" animBg="1"/>
      <p:bldP spid="93" grpId="0" animBg="1"/>
      <p:bldP spid="95" grpId="0" animBg="1"/>
      <p:bldP spid="96" grpId="0" animBg="1"/>
      <p:bldP spid="97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icture Placeholder 114">
            <a:extLst>
              <a:ext uri="{FF2B5EF4-FFF2-40B4-BE49-F238E27FC236}">
                <a16:creationId xmlns:a16="http://schemas.microsoft.com/office/drawing/2014/main" id="{2939B95A-6CBF-409F-84B3-42C0839203D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0" y="-1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6" name="Picture Placeholder 115">
            <a:extLst>
              <a:ext uri="{FF2B5EF4-FFF2-40B4-BE49-F238E27FC236}">
                <a16:creationId xmlns:a16="http://schemas.microsoft.com/office/drawing/2014/main" id="{AB40BECF-EB5B-43F0-9FB0-D40B193417E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033984" y="-1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8" name="Picture Placeholder 117">
            <a:extLst>
              <a:ext uri="{FF2B5EF4-FFF2-40B4-BE49-F238E27FC236}">
                <a16:creationId xmlns:a16="http://schemas.microsoft.com/office/drawing/2014/main" id="{53AB5C98-F720-42C1-B036-26353EA021E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01951" y="-1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9" name="Picture Placeholder 118">
            <a:extLst>
              <a:ext uri="{FF2B5EF4-FFF2-40B4-BE49-F238E27FC236}">
                <a16:creationId xmlns:a16="http://schemas.microsoft.com/office/drawing/2014/main" id="{A7B7ADEA-629D-47FB-960D-A1F8AC8D6DA6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135934" y="-1"/>
            <a:ext cx="2022081" cy="1704862"/>
          </a:xfrm>
          <a:custGeom>
            <a:avLst/>
            <a:gdLst>
              <a:gd name="connsiteX0" fmla="*/ 0 w 4044688"/>
              <a:gd name="connsiteY0" fmla="*/ 0 h 3409723"/>
              <a:gd name="connsiteX1" fmla="*/ 4044688 w 4044688"/>
              <a:gd name="connsiteY1" fmla="*/ 0 h 3409723"/>
              <a:gd name="connsiteX2" fmla="*/ 4044688 w 4044688"/>
              <a:gd name="connsiteY2" fmla="*/ 3409723 h 3409723"/>
              <a:gd name="connsiteX3" fmla="*/ 0 w 4044688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8" h="3409723">
                <a:moveTo>
                  <a:pt x="0" y="0"/>
                </a:moveTo>
                <a:lnTo>
                  <a:pt x="4044688" y="0"/>
                </a:lnTo>
                <a:lnTo>
                  <a:pt x="4044688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0" name="Picture Placeholder 119">
            <a:extLst>
              <a:ext uri="{FF2B5EF4-FFF2-40B4-BE49-F238E27FC236}">
                <a16:creationId xmlns:a16="http://schemas.microsoft.com/office/drawing/2014/main" id="{4F9312AB-9B7D-4B09-959E-75FF662CDFFD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0169919" y="-1"/>
            <a:ext cx="2022082" cy="1704862"/>
          </a:xfrm>
          <a:custGeom>
            <a:avLst/>
            <a:gdLst>
              <a:gd name="connsiteX0" fmla="*/ 0 w 4044690"/>
              <a:gd name="connsiteY0" fmla="*/ 0 h 3409723"/>
              <a:gd name="connsiteX1" fmla="*/ 4044690 w 4044690"/>
              <a:gd name="connsiteY1" fmla="*/ 0 h 3409723"/>
              <a:gd name="connsiteX2" fmla="*/ 4044690 w 4044690"/>
              <a:gd name="connsiteY2" fmla="*/ 3409723 h 3409723"/>
              <a:gd name="connsiteX3" fmla="*/ 0 w 4044690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90" h="3409723">
                <a:moveTo>
                  <a:pt x="0" y="0"/>
                </a:moveTo>
                <a:lnTo>
                  <a:pt x="4044690" y="0"/>
                </a:lnTo>
                <a:lnTo>
                  <a:pt x="4044690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2" name="Picture Placeholder 121">
            <a:extLst>
              <a:ext uri="{FF2B5EF4-FFF2-40B4-BE49-F238E27FC236}">
                <a16:creationId xmlns:a16="http://schemas.microsoft.com/office/drawing/2014/main" id="{C21CF143-7CE8-4EDB-8F5B-1EAA4F3EB3D9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033984" y="1717713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3" name="Picture Placeholder 122">
            <a:extLst>
              <a:ext uri="{FF2B5EF4-FFF2-40B4-BE49-F238E27FC236}">
                <a16:creationId xmlns:a16="http://schemas.microsoft.com/office/drawing/2014/main" id="{676C95BA-1B92-4AF1-A0AD-7D39D180284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4067968" y="1717713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4" name="Picture Placeholder 123">
            <a:extLst>
              <a:ext uri="{FF2B5EF4-FFF2-40B4-BE49-F238E27FC236}">
                <a16:creationId xmlns:a16="http://schemas.microsoft.com/office/drawing/2014/main" id="{09B06827-9EF7-4EC9-88E0-7E5D47719289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101951" y="1717713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6" name="Picture Placeholder 125">
            <a:extLst>
              <a:ext uri="{FF2B5EF4-FFF2-40B4-BE49-F238E27FC236}">
                <a16:creationId xmlns:a16="http://schemas.microsoft.com/office/drawing/2014/main" id="{24D86F31-D54B-49AB-BB38-E9ACE3B86956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169919" y="1717713"/>
            <a:ext cx="2022082" cy="1704862"/>
          </a:xfrm>
          <a:custGeom>
            <a:avLst/>
            <a:gdLst>
              <a:gd name="connsiteX0" fmla="*/ 0 w 4044690"/>
              <a:gd name="connsiteY0" fmla="*/ 0 h 3409723"/>
              <a:gd name="connsiteX1" fmla="*/ 4044690 w 4044690"/>
              <a:gd name="connsiteY1" fmla="*/ 0 h 3409723"/>
              <a:gd name="connsiteX2" fmla="*/ 4044690 w 4044690"/>
              <a:gd name="connsiteY2" fmla="*/ 3409723 h 3409723"/>
              <a:gd name="connsiteX3" fmla="*/ 0 w 4044690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90" h="3409723">
                <a:moveTo>
                  <a:pt x="0" y="0"/>
                </a:moveTo>
                <a:lnTo>
                  <a:pt x="4044690" y="0"/>
                </a:lnTo>
                <a:lnTo>
                  <a:pt x="4044690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7" name="Picture Placeholder 126">
            <a:extLst>
              <a:ext uri="{FF2B5EF4-FFF2-40B4-BE49-F238E27FC236}">
                <a16:creationId xmlns:a16="http://schemas.microsoft.com/office/drawing/2014/main" id="{49C7DD07-2040-4ADB-A7E0-F22A03458583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0" y="3435426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8" name="Picture Placeholder 127">
            <a:extLst>
              <a:ext uri="{FF2B5EF4-FFF2-40B4-BE49-F238E27FC236}">
                <a16:creationId xmlns:a16="http://schemas.microsoft.com/office/drawing/2014/main" id="{0A16FB21-FEDC-4115-B682-77804B1F1599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033984" y="3435426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0" name="Picture Placeholder 129">
            <a:extLst>
              <a:ext uri="{FF2B5EF4-FFF2-40B4-BE49-F238E27FC236}">
                <a16:creationId xmlns:a16="http://schemas.microsoft.com/office/drawing/2014/main" id="{09FBAFEB-6675-4992-9F59-3CDEEB06C1E2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6101951" y="3435426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73DE433A-65DB-4D80-BEBA-C0E98C0B13CD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8135934" y="3435426"/>
            <a:ext cx="2022081" cy="1704862"/>
          </a:xfrm>
          <a:custGeom>
            <a:avLst/>
            <a:gdLst>
              <a:gd name="connsiteX0" fmla="*/ 0 w 4044688"/>
              <a:gd name="connsiteY0" fmla="*/ 0 h 3409723"/>
              <a:gd name="connsiteX1" fmla="*/ 4044688 w 4044688"/>
              <a:gd name="connsiteY1" fmla="*/ 0 h 3409723"/>
              <a:gd name="connsiteX2" fmla="*/ 4044688 w 4044688"/>
              <a:gd name="connsiteY2" fmla="*/ 3409723 h 3409723"/>
              <a:gd name="connsiteX3" fmla="*/ 0 w 4044688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8" h="3409723">
                <a:moveTo>
                  <a:pt x="0" y="0"/>
                </a:moveTo>
                <a:lnTo>
                  <a:pt x="4044688" y="0"/>
                </a:lnTo>
                <a:lnTo>
                  <a:pt x="4044688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3" name="Picture Placeholder 132">
            <a:extLst>
              <a:ext uri="{FF2B5EF4-FFF2-40B4-BE49-F238E27FC236}">
                <a16:creationId xmlns:a16="http://schemas.microsoft.com/office/drawing/2014/main" id="{1C48A930-F2CC-46AD-B2D2-40758BAF99DC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0" y="5153139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5" name="Picture Placeholder 134">
            <a:extLst>
              <a:ext uri="{FF2B5EF4-FFF2-40B4-BE49-F238E27FC236}">
                <a16:creationId xmlns:a16="http://schemas.microsoft.com/office/drawing/2014/main" id="{FF796C8D-5331-4731-A404-B7B2D5A9E529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4067968" y="5153139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6" name="Picture Placeholder 135">
            <a:extLst>
              <a:ext uri="{FF2B5EF4-FFF2-40B4-BE49-F238E27FC236}">
                <a16:creationId xmlns:a16="http://schemas.microsoft.com/office/drawing/2014/main" id="{7F0BA582-E839-40B1-9A4B-DFE0D1A9D75F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101951" y="5153139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9" name="Picture Placeholder 138">
            <a:extLst>
              <a:ext uri="{FF2B5EF4-FFF2-40B4-BE49-F238E27FC236}">
                <a16:creationId xmlns:a16="http://schemas.microsoft.com/office/drawing/2014/main" id="{9376C177-5763-401A-9E03-56709766AA9F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0169919" y="5153139"/>
            <a:ext cx="2022082" cy="1704862"/>
          </a:xfrm>
          <a:custGeom>
            <a:avLst/>
            <a:gdLst>
              <a:gd name="connsiteX0" fmla="*/ 0 w 4044690"/>
              <a:gd name="connsiteY0" fmla="*/ 0 h 3409723"/>
              <a:gd name="connsiteX1" fmla="*/ 4044690 w 4044690"/>
              <a:gd name="connsiteY1" fmla="*/ 0 h 3409723"/>
              <a:gd name="connsiteX2" fmla="*/ 4044690 w 4044690"/>
              <a:gd name="connsiteY2" fmla="*/ 3409723 h 3409723"/>
              <a:gd name="connsiteX3" fmla="*/ 0 w 4044690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90" h="3409723">
                <a:moveTo>
                  <a:pt x="0" y="0"/>
                </a:moveTo>
                <a:lnTo>
                  <a:pt x="4044690" y="0"/>
                </a:lnTo>
                <a:lnTo>
                  <a:pt x="4044690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53885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28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28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28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28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28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28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28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3" presetClass="entr" presetSubtype="28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3" presetClass="entr" presetSubtype="28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3" presetClass="entr" presetSubtype="28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3" presetClass="entr" presetSubtype="28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3" presetClass="entr" presetSubtype="288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 animBg="1"/>
      <p:bldP spid="116" grpId="0" animBg="1"/>
      <p:bldP spid="118" grpId="0" animBg="1"/>
      <p:bldP spid="119" grpId="0" animBg="1"/>
      <p:bldP spid="120" grpId="0" animBg="1"/>
      <p:bldP spid="122" grpId="0" animBg="1"/>
      <p:bldP spid="123" grpId="0" animBg="1"/>
      <p:bldP spid="124" grpId="0" animBg="1"/>
      <p:bldP spid="126" grpId="0" animBg="1"/>
      <p:bldP spid="127" grpId="0" animBg="1"/>
      <p:bldP spid="128" grpId="0" animBg="1"/>
      <p:bldP spid="130" grpId="0" animBg="1"/>
      <p:bldP spid="131" grpId="0" animBg="1"/>
      <p:bldP spid="133" grpId="0" animBg="1"/>
      <p:bldP spid="135" grpId="0" animBg="1"/>
      <p:bldP spid="136" grpId="0" animBg="1"/>
      <p:bldP spid="139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-Morph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10586795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-7593872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-4600949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-1608026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384898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844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B062408-1772-49D4-893D-8C8BB7467F6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06976" y="0"/>
            <a:ext cx="4571405" cy="6858000"/>
          </a:xfrm>
          <a:custGeom>
            <a:avLst/>
            <a:gdLst>
              <a:gd name="connsiteX0" fmla="*/ 0 w 5161935"/>
              <a:gd name="connsiteY0" fmla="*/ 0 h 13716000"/>
              <a:gd name="connsiteX1" fmla="*/ 5161935 w 5161935"/>
              <a:gd name="connsiteY1" fmla="*/ 0 h 13716000"/>
              <a:gd name="connsiteX2" fmla="*/ 5161935 w 5161935"/>
              <a:gd name="connsiteY2" fmla="*/ 13716000 h 13716000"/>
              <a:gd name="connsiteX3" fmla="*/ 0 w 5161935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61935" h="13716000">
                <a:moveTo>
                  <a:pt x="0" y="0"/>
                </a:moveTo>
                <a:lnTo>
                  <a:pt x="5161935" y="0"/>
                </a:lnTo>
                <a:lnTo>
                  <a:pt x="5161935" y="13716000"/>
                </a:lnTo>
                <a:lnTo>
                  <a:pt x="0" y="13716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r>
              <a:rPr lang="en-US"/>
              <a:t>Click icon to add picture,</a:t>
            </a:r>
          </a:p>
          <a:p>
            <a:r>
              <a:rPr lang="en-US"/>
              <a:t>Drag and Drop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CB3B239-9E66-48A2-9ADF-036A215863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93392" y="4655231"/>
            <a:ext cx="1206573" cy="1402669"/>
          </a:xfrm>
          <a:custGeom>
            <a:avLst/>
            <a:gdLst>
              <a:gd name="connsiteX0" fmla="*/ 184171 w 2413461"/>
              <a:gd name="connsiteY0" fmla="*/ 0 h 2805338"/>
              <a:gd name="connsiteX1" fmla="*/ 2229290 w 2413461"/>
              <a:gd name="connsiteY1" fmla="*/ 0 h 2805338"/>
              <a:gd name="connsiteX2" fmla="*/ 2413461 w 2413461"/>
              <a:gd name="connsiteY2" fmla="*/ 184171 h 2805338"/>
              <a:gd name="connsiteX3" fmla="*/ 2413461 w 2413461"/>
              <a:gd name="connsiteY3" fmla="*/ 2621167 h 2805338"/>
              <a:gd name="connsiteX4" fmla="*/ 2229290 w 2413461"/>
              <a:gd name="connsiteY4" fmla="*/ 2805338 h 2805338"/>
              <a:gd name="connsiteX5" fmla="*/ 184171 w 2413461"/>
              <a:gd name="connsiteY5" fmla="*/ 2805338 h 2805338"/>
              <a:gd name="connsiteX6" fmla="*/ 0 w 2413461"/>
              <a:gd name="connsiteY6" fmla="*/ 2621167 h 2805338"/>
              <a:gd name="connsiteX7" fmla="*/ 0 w 2413461"/>
              <a:gd name="connsiteY7" fmla="*/ 184171 h 2805338"/>
              <a:gd name="connsiteX8" fmla="*/ 184171 w 2413461"/>
              <a:gd name="connsiteY8" fmla="*/ 0 h 2805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13461" h="2805338">
                <a:moveTo>
                  <a:pt x="184171" y="0"/>
                </a:moveTo>
                <a:lnTo>
                  <a:pt x="2229290" y="0"/>
                </a:lnTo>
                <a:cubicBezTo>
                  <a:pt x="2331005" y="0"/>
                  <a:pt x="2413461" y="82456"/>
                  <a:pt x="2413461" y="184171"/>
                </a:cubicBezTo>
                <a:lnTo>
                  <a:pt x="2413461" y="2621167"/>
                </a:lnTo>
                <a:cubicBezTo>
                  <a:pt x="2413461" y="2722882"/>
                  <a:pt x="2331005" y="2805338"/>
                  <a:pt x="2229290" y="2805338"/>
                </a:cubicBezTo>
                <a:lnTo>
                  <a:pt x="184171" y="2805338"/>
                </a:lnTo>
                <a:cubicBezTo>
                  <a:pt x="82456" y="2805338"/>
                  <a:pt x="0" y="2722882"/>
                  <a:pt x="0" y="2621167"/>
                </a:cubicBezTo>
                <a:lnTo>
                  <a:pt x="0" y="184171"/>
                </a:lnTo>
                <a:cubicBezTo>
                  <a:pt x="0" y="82456"/>
                  <a:pt x="82456" y="0"/>
                  <a:pt x="184171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r>
              <a:rPr lang="en-US"/>
              <a:t>Click icon to add picture,</a:t>
            </a:r>
          </a:p>
          <a:p>
            <a:r>
              <a:rPr lang="en-US"/>
              <a:t>Drag and Drop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8667E37-AA21-432C-AAC0-A6E15B2423C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93381" y="4655231"/>
            <a:ext cx="1206573" cy="1402669"/>
          </a:xfrm>
          <a:custGeom>
            <a:avLst/>
            <a:gdLst>
              <a:gd name="connsiteX0" fmla="*/ 184171 w 2413461"/>
              <a:gd name="connsiteY0" fmla="*/ 0 h 2805338"/>
              <a:gd name="connsiteX1" fmla="*/ 2229289 w 2413461"/>
              <a:gd name="connsiteY1" fmla="*/ 0 h 2805338"/>
              <a:gd name="connsiteX2" fmla="*/ 2413461 w 2413461"/>
              <a:gd name="connsiteY2" fmla="*/ 184171 h 2805338"/>
              <a:gd name="connsiteX3" fmla="*/ 2413461 w 2413461"/>
              <a:gd name="connsiteY3" fmla="*/ 2621167 h 2805338"/>
              <a:gd name="connsiteX4" fmla="*/ 2229289 w 2413461"/>
              <a:gd name="connsiteY4" fmla="*/ 2805338 h 2805338"/>
              <a:gd name="connsiteX5" fmla="*/ 184171 w 2413461"/>
              <a:gd name="connsiteY5" fmla="*/ 2805338 h 2805338"/>
              <a:gd name="connsiteX6" fmla="*/ 0 w 2413461"/>
              <a:gd name="connsiteY6" fmla="*/ 2621167 h 2805338"/>
              <a:gd name="connsiteX7" fmla="*/ 0 w 2413461"/>
              <a:gd name="connsiteY7" fmla="*/ 184171 h 2805338"/>
              <a:gd name="connsiteX8" fmla="*/ 184171 w 2413461"/>
              <a:gd name="connsiteY8" fmla="*/ 0 h 2805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13461" h="2805338">
                <a:moveTo>
                  <a:pt x="184171" y="0"/>
                </a:moveTo>
                <a:lnTo>
                  <a:pt x="2229289" y="0"/>
                </a:lnTo>
                <a:cubicBezTo>
                  <a:pt x="2331005" y="0"/>
                  <a:pt x="2413461" y="82456"/>
                  <a:pt x="2413461" y="184171"/>
                </a:cubicBezTo>
                <a:lnTo>
                  <a:pt x="2413461" y="2621167"/>
                </a:lnTo>
                <a:cubicBezTo>
                  <a:pt x="2413461" y="2722882"/>
                  <a:pt x="2331005" y="2805338"/>
                  <a:pt x="2229289" y="2805338"/>
                </a:cubicBezTo>
                <a:lnTo>
                  <a:pt x="184171" y="2805338"/>
                </a:lnTo>
                <a:cubicBezTo>
                  <a:pt x="82456" y="2805338"/>
                  <a:pt x="0" y="2722882"/>
                  <a:pt x="0" y="2621167"/>
                </a:cubicBezTo>
                <a:lnTo>
                  <a:pt x="0" y="184171"/>
                </a:lnTo>
                <a:cubicBezTo>
                  <a:pt x="0" y="82456"/>
                  <a:pt x="82456" y="0"/>
                  <a:pt x="184171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r>
              <a:rPr lang="en-US"/>
              <a:t>Click icon to add picture,</a:t>
            </a:r>
          </a:p>
          <a:p>
            <a:r>
              <a:rPr lang="en-US"/>
              <a:t>Drag and Drop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C9F0940-6C60-4400-8944-612A58D9371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693369" y="4655231"/>
            <a:ext cx="1206573" cy="1402669"/>
          </a:xfrm>
          <a:custGeom>
            <a:avLst/>
            <a:gdLst>
              <a:gd name="connsiteX0" fmla="*/ 184172 w 2413460"/>
              <a:gd name="connsiteY0" fmla="*/ 0 h 2805338"/>
              <a:gd name="connsiteX1" fmla="*/ 2229290 w 2413460"/>
              <a:gd name="connsiteY1" fmla="*/ 0 h 2805338"/>
              <a:gd name="connsiteX2" fmla="*/ 2413460 w 2413460"/>
              <a:gd name="connsiteY2" fmla="*/ 184171 h 2805338"/>
              <a:gd name="connsiteX3" fmla="*/ 2413460 w 2413460"/>
              <a:gd name="connsiteY3" fmla="*/ 2621167 h 2805338"/>
              <a:gd name="connsiteX4" fmla="*/ 2229290 w 2413460"/>
              <a:gd name="connsiteY4" fmla="*/ 2805338 h 2805338"/>
              <a:gd name="connsiteX5" fmla="*/ 184172 w 2413460"/>
              <a:gd name="connsiteY5" fmla="*/ 2805338 h 2805338"/>
              <a:gd name="connsiteX6" fmla="*/ 0 w 2413460"/>
              <a:gd name="connsiteY6" fmla="*/ 2621167 h 2805338"/>
              <a:gd name="connsiteX7" fmla="*/ 0 w 2413460"/>
              <a:gd name="connsiteY7" fmla="*/ 184171 h 2805338"/>
              <a:gd name="connsiteX8" fmla="*/ 184172 w 2413460"/>
              <a:gd name="connsiteY8" fmla="*/ 0 h 2805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13460" h="2805338">
                <a:moveTo>
                  <a:pt x="184172" y="0"/>
                </a:moveTo>
                <a:lnTo>
                  <a:pt x="2229290" y="0"/>
                </a:lnTo>
                <a:cubicBezTo>
                  <a:pt x="2331004" y="0"/>
                  <a:pt x="2413460" y="82456"/>
                  <a:pt x="2413460" y="184171"/>
                </a:cubicBezTo>
                <a:lnTo>
                  <a:pt x="2413460" y="2621167"/>
                </a:lnTo>
                <a:cubicBezTo>
                  <a:pt x="2413460" y="2722882"/>
                  <a:pt x="2331004" y="2805338"/>
                  <a:pt x="2229290" y="2805338"/>
                </a:cubicBezTo>
                <a:lnTo>
                  <a:pt x="184172" y="2805338"/>
                </a:lnTo>
                <a:cubicBezTo>
                  <a:pt x="82456" y="2805338"/>
                  <a:pt x="0" y="2722882"/>
                  <a:pt x="0" y="2621167"/>
                </a:cubicBezTo>
                <a:lnTo>
                  <a:pt x="0" y="184171"/>
                </a:lnTo>
                <a:cubicBezTo>
                  <a:pt x="0" y="82456"/>
                  <a:pt x="82456" y="0"/>
                  <a:pt x="184172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r>
              <a:rPr lang="en-US"/>
              <a:t>Click icon to add picture,</a:t>
            </a:r>
          </a:p>
          <a:p>
            <a:r>
              <a:rPr lang="en-US"/>
              <a:t>Drag and Drop</a:t>
            </a:r>
          </a:p>
        </p:txBody>
      </p:sp>
    </p:spTree>
    <p:extLst>
      <p:ext uri="{BB962C8B-B14F-4D97-AF65-F5344CB8AC3E}">
        <p14:creationId xmlns:p14="http://schemas.microsoft.com/office/powerpoint/2010/main" val="617406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20000" decel="8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20000" decel="8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20000" decel="8000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7593871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-4600948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-1608025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384898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21920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5410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4600947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-1608024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1384898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21920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51462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2665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1627385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1365537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121920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51462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81004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8348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1251252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12192000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151462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8100399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21054599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09524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11D6E6F-1A6B-45CF-B9D7-D9761B246E4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849528" y="1711570"/>
            <a:ext cx="2860058" cy="3563816"/>
          </a:xfrm>
          <a:custGeom>
            <a:avLst/>
            <a:gdLst>
              <a:gd name="connsiteX0" fmla="*/ 0 w 5720861"/>
              <a:gd name="connsiteY0" fmla="*/ 0 h 7127631"/>
              <a:gd name="connsiteX1" fmla="*/ 5720861 w 5720861"/>
              <a:gd name="connsiteY1" fmla="*/ 0 h 7127631"/>
              <a:gd name="connsiteX2" fmla="*/ 5720861 w 5720861"/>
              <a:gd name="connsiteY2" fmla="*/ 7127631 h 7127631"/>
              <a:gd name="connsiteX3" fmla="*/ 0 w 5720861"/>
              <a:gd name="connsiteY3" fmla="*/ 7127631 h 712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0861" h="7127631">
                <a:moveTo>
                  <a:pt x="0" y="0"/>
                </a:moveTo>
                <a:lnTo>
                  <a:pt x="5720861" y="0"/>
                </a:lnTo>
                <a:lnTo>
                  <a:pt x="5720861" y="7127631"/>
                </a:lnTo>
                <a:lnTo>
                  <a:pt x="0" y="7127631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4283929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73DD1C2-C46F-4111-8691-AF13BE6E39C6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090969" y="1991544"/>
            <a:ext cx="2860058" cy="3563816"/>
          </a:xfrm>
          <a:custGeom>
            <a:avLst/>
            <a:gdLst>
              <a:gd name="connsiteX0" fmla="*/ 0 w 5720861"/>
              <a:gd name="connsiteY0" fmla="*/ 0 h 7127631"/>
              <a:gd name="connsiteX1" fmla="*/ 5720861 w 5720861"/>
              <a:gd name="connsiteY1" fmla="*/ 0 h 7127631"/>
              <a:gd name="connsiteX2" fmla="*/ 5720861 w 5720861"/>
              <a:gd name="connsiteY2" fmla="*/ 7127631 h 7127631"/>
              <a:gd name="connsiteX3" fmla="*/ 0 w 5720861"/>
              <a:gd name="connsiteY3" fmla="*/ 7127631 h 712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0861" h="7127631">
                <a:moveTo>
                  <a:pt x="0" y="0"/>
                </a:moveTo>
                <a:lnTo>
                  <a:pt x="5720861" y="0"/>
                </a:lnTo>
                <a:lnTo>
                  <a:pt x="5720861" y="7127631"/>
                </a:lnTo>
                <a:lnTo>
                  <a:pt x="0" y="7127631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11D6E6F-1A6B-45CF-B9D7-D9761B246E4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63411" y="1991544"/>
            <a:ext cx="2860058" cy="3563816"/>
          </a:xfrm>
          <a:custGeom>
            <a:avLst/>
            <a:gdLst>
              <a:gd name="connsiteX0" fmla="*/ 0 w 5720861"/>
              <a:gd name="connsiteY0" fmla="*/ 0 h 7127631"/>
              <a:gd name="connsiteX1" fmla="*/ 5720861 w 5720861"/>
              <a:gd name="connsiteY1" fmla="*/ 0 h 7127631"/>
              <a:gd name="connsiteX2" fmla="*/ 5720861 w 5720861"/>
              <a:gd name="connsiteY2" fmla="*/ 7127631 h 7127631"/>
              <a:gd name="connsiteX3" fmla="*/ 0 w 5720861"/>
              <a:gd name="connsiteY3" fmla="*/ 7127631 h 712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0861" h="7127631">
                <a:moveTo>
                  <a:pt x="0" y="0"/>
                </a:moveTo>
                <a:lnTo>
                  <a:pt x="5720861" y="0"/>
                </a:lnTo>
                <a:lnTo>
                  <a:pt x="5720861" y="7127631"/>
                </a:lnTo>
                <a:lnTo>
                  <a:pt x="0" y="7127631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12838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68464A-15E7-4D9B-AD60-34512335592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381903" y="1989641"/>
            <a:ext cx="2571847" cy="3541908"/>
          </a:xfrm>
          <a:custGeom>
            <a:avLst/>
            <a:gdLst>
              <a:gd name="connsiteX0" fmla="*/ 0 w 5144364"/>
              <a:gd name="connsiteY0" fmla="*/ 0 h 7083816"/>
              <a:gd name="connsiteX1" fmla="*/ 5144364 w 5144364"/>
              <a:gd name="connsiteY1" fmla="*/ 0 h 7083816"/>
              <a:gd name="connsiteX2" fmla="*/ 5144364 w 5144364"/>
              <a:gd name="connsiteY2" fmla="*/ 7083816 h 7083816"/>
              <a:gd name="connsiteX3" fmla="*/ 0 w 5144364"/>
              <a:gd name="connsiteY3" fmla="*/ 7083816 h 7083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364" h="7083816">
                <a:moveTo>
                  <a:pt x="0" y="0"/>
                </a:moveTo>
                <a:lnTo>
                  <a:pt x="5144364" y="0"/>
                </a:lnTo>
                <a:lnTo>
                  <a:pt x="5144364" y="7083816"/>
                </a:lnTo>
                <a:lnTo>
                  <a:pt x="0" y="7083816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2323694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6C5A2-21C0-4124-8346-6F4224A77D4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559699" y="1721223"/>
            <a:ext cx="2944479" cy="1640541"/>
          </a:xfrm>
          <a:custGeom>
            <a:avLst/>
            <a:gdLst>
              <a:gd name="connsiteX0" fmla="*/ 0 w 5889724"/>
              <a:gd name="connsiteY0" fmla="*/ 0 h 3281082"/>
              <a:gd name="connsiteX1" fmla="*/ 5889724 w 5889724"/>
              <a:gd name="connsiteY1" fmla="*/ 0 h 3281082"/>
              <a:gd name="connsiteX2" fmla="*/ 5889724 w 5889724"/>
              <a:gd name="connsiteY2" fmla="*/ 3281082 h 3281082"/>
              <a:gd name="connsiteX3" fmla="*/ 4598808 w 5889724"/>
              <a:gd name="connsiteY3" fmla="*/ 3281082 h 3281082"/>
              <a:gd name="connsiteX4" fmla="*/ 726142 w 5889724"/>
              <a:gd name="connsiteY4" fmla="*/ 3281082 h 3281082"/>
              <a:gd name="connsiteX5" fmla="*/ 0 w 5889724"/>
              <a:gd name="connsiteY5" fmla="*/ 3281082 h 328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89724" h="3281082">
                <a:moveTo>
                  <a:pt x="0" y="0"/>
                </a:moveTo>
                <a:lnTo>
                  <a:pt x="5889724" y="0"/>
                </a:lnTo>
                <a:lnTo>
                  <a:pt x="5889724" y="3281082"/>
                </a:lnTo>
                <a:lnTo>
                  <a:pt x="4598808" y="3281082"/>
                </a:lnTo>
                <a:lnTo>
                  <a:pt x="726142" y="3281082"/>
                </a:lnTo>
                <a:lnTo>
                  <a:pt x="0" y="328108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227DA8D-2981-4111-A228-A72FCA3F9705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849847" y="1721223"/>
            <a:ext cx="2944479" cy="1640541"/>
          </a:xfrm>
          <a:custGeom>
            <a:avLst/>
            <a:gdLst>
              <a:gd name="connsiteX0" fmla="*/ 0 w 5889724"/>
              <a:gd name="connsiteY0" fmla="*/ 0 h 3281082"/>
              <a:gd name="connsiteX1" fmla="*/ 5889724 w 5889724"/>
              <a:gd name="connsiteY1" fmla="*/ 0 h 3281082"/>
              <a:gd name="connsiteX2" fmla="*/ 5889724 w 5889724"/>
              <a:gd name="connsiteY2" fmla="*/ 3281082 h 3281082"/>
              <a:gd name="connsiteX3" fmla="*/ 0 w 5889724"/>
              <a:gd name="connsiteY3" fmla="*/ 3281082 h 328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9724" h="3281082">
                <a:moveTo>
                  <a:pt x="0" y="0"/>
                </a:moveTo>
                <a:lnTo>
                  <a:pt x="5889724" y="0"/>
                </a:lnTo>
                <a:lnTo>
                  <a:pt x="5889724" y="3281082"/>
                </a:lnTo>
                <a:lnTo>
                  <a:pt x="0" y="328108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56C2B7F-79ED-47F6-8F62-450E015B464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39997" y="1721223"/>
            <a:ext cx="2944478" cy="1640541"/>
          </a:xfrm>
          <a:custGeom>
            <a:avLst/>
            <a:gdLst>
              <a:gd name="connsiteX0" fmla="*/ 0 w 5889723"/>
              <a:gd name="connsiteY0" fmla="*/ 0 h 3281082"/>
              <a:gd name="connsiteX1" fmla="*/ 5889723 w 5889723"/>
              <a:gd name="connsiteY1" fmla="*/ 0 h 3281082"/>
              <a:gd name="connsiteX2" fmla="*/ 5889723 w 5889723"/>
              <a:gd name="connsiteY2" fmla="*/ 3281082 h 3281082"/>
              <a:gd name="connsiteX3" fmla="*/ 0 w 5889723"/>
              <a:gd name="connsiteY3" fmla="*/ 3281082 h 328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9723" h="3281082">
                <a:moveTo>
                  <a:pt x="0" y="0"/>
                </a:moveTo>
                <a:lnTo>
                  <a:pt x="5889723" y="0"/>
                </a:lnTo>
                <a:lnTo>
                  <a:pt x="5889723" y="3281082"/>
                </a:lnTo>
                <a:lnTo>
                  <a:pt x="0" y="328108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69500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4" grpId="0" animBg="1"/>
    </p:bld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D70656-C88E-47A8-AF4E-6796ABD0376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36144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2C696FB3-7798-452D-A70D-9F9025FD10F5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659942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0011766-26D5-4106-9378-06DEFFB04B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983739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EA1BFBE-A9BC-46DF-B192-ABC87F485EC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7307537" y="1481328"/>
            <a:ext cx="2224520" cy="1880437"/>
          </a:xfrm>
          <a:custGeom>
            <a:avLst/>
            <a:gdLst>
              <a:gd name="connsiteX0" fmla="*/ 0 w 4449619"/>
              <a:gd name="connsiteY0" fmla="*/ 0 h 3760873"/>
              <a:gd name="connsiteX1" fmla="*/ 4449619 w 4449619"/>
              <a:gd name="connsiteY1" fmla="*/ 0 h 3760873"/>
              <a:gd name="connsiteX2" fmla="*/ 4449619 w 4449619"/>
              <a:gd name="connsiteY2" fmla="*/ 3760873 h 3760873"/>
              <a:gd name="connsiteX3" fmla="*/ 0 w 4449619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19" h="3760873">
                <a:moveTo>
                  <a:pt x="0" y="0"/>
                </a:moveTo>
                <a:lnTo>
                  <a:pt x="4449619" y="0"/>
                </a:lnTo>
                <a:lnTo>
                  <a:pt x="4449619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5B7D466C-A520-4902-99C4-B78E98A6E6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631334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59436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2DED6899-EE35-4C9F-85BC-2800893A7A0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100787" y="191452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C8CD014F-DCFE-440B-9C46-DE5E50FC1AC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429341" y="191452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25211DE-2900-41DB-94E0-DADC7578762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757895" y="191452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51C6DB-32A3-4464-AE10-5633A7CE53C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100787" y="3262312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B30DC47F-8DF3-4F33-B1B6-FF730859D681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4429341" y="3262312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8F4643DF-0111-4FA8-BE96-A6CE1DA67C8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7757895" y="3262312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095EDDFA-6EB5-48D5-94C9-9CC6B10491F1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100787" y="461010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97A33113-4109-4E55-A5EC-1DD0D9F09F4F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4429341" y="461010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C9EBD72A-C4D9-488C-8B28-C748536236D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757895" y="461010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639896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Text"/>
          <p:cNvSpPr txBox="1">
            <a:spLocks noGrp="1"/>
          </p:cNvSpPr>
          <p:nvPr>
            <p:ph type="title"/>
          </p:nvPr>
        </p:nvSpPr>
        <p:spPr>
          <a:xfrm>
            <a:off x="1056307" y="1"/>
            <a:ext cx="10090512" cy="3744001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056307" y="3744001"/>
            <a:ext cx="10090512" cy="2070001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40562" y="6259335"/>
            <a:ext cx="179536" cy="184666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44869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4BA24CCC-EDF0-4391-BDAD-5A1AC3C41ED2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513092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A8C50DEA-9D79-44F2-8F00-34CE2DFBB1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341648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47C511FA-F714-464A-AC1B-9514AED5E82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70205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9CD4A1BF-2AF8-4D45-921D-BCC41796000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998762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610A3D6E-C358-439C-8B8A-28D7DA56AB33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13092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B176FB6D-30B1-4A91-BF7B-E0B3AC30EFB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341648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F6FEED80-41F9-45B8-810F-A371D8C9E3AC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170205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6D041EF4-D5CD-4126-B32F-5971C6FA721C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998762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CEE5E17D-B267-4245-B058-59B9515089D4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13092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3" name="Picture Placeholder 52">
            <a:extLst>
              <a:ext uri="{FF2B5EF4-FFF2-40B4-BE49-F238E27FC236}">
                <a16:creationId xmlns:a16="http://schemas.microsoft.com/office/drawing/2014/main" id="{6CBC3CA6-B6A2-4EEB-9A63-B3A2ED1EA40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41648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49975133-13E9-47E2-B89B-39D855512B9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170205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63CF676C-B8B6-4C40-91EF-D8B604B3000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998762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769903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D938956-B64C-4A69-AD96-2E304154F00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466052" y="16670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6B722B3-CFC5-45EA-9ED6-3E100F31BD1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475550" y="16670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0BB8CC-07D9-47C2-A423-DA7944D7355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466052" y="41054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9D065CD-90D1-4F95-954E-57604EA9B4A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475550" y="41054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78197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D938956-B64C-4A69-AD96-2E304154F00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466052" y="16670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0BB8CC-07D9-47C2-A423-DA7944D7355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466052" y="41054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2642038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31683" y="1761865"/>
            <a:ext cx="2482838" cy="3352800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70C477C-0616-4B25-AECC-C8579212EEC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46948" y="1761865"/>
            <a:ext cx="2482838" cy="3352800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1CF97D-2FDA-4292-861E-0CA5A754E9C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2213" y="1761865"/>
            <a:ext cx="2482838" cy="3352800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34B1061-2D91-4253-9DCF-0987EC9BF35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777478" y="1761865"/>
            <a:ext cx="2482837" cy="3352800"/>
          </a:xfrm>
          <a:custGeom>
            <a:avLst/>
            <a:gdLst>
              <a:gd name="connsiteX0" fmla="*/ 0 w 4966320"/>
              <a:gd name="connsiteY0" fmla="*/ 0 h 6705600"/>
              <a:gd name="connsiteX1" fmla="*/ 4966320 w 4966320"/>
              <a:gd name="connsiteY1" fmla="*/ 0 h 6705600"/>
              <a:gd name="connsiteX2" fmla="*/ 4966320 w 4966320"/>
              <a:gd name="connsiteY2" fmla="*/ 6705600 h 6705600"/>
              <a:gd name="connsiteX3" fmla="*/ 0 w 4966320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0" h="6705600">
                <a:moveTo>
                  <a:pt x="0" y="0"/>
                </a:moveTo>
                <a:lnTo>
                  <a:pt x="4966320" y="0"/>
                </a:lnTo>
                <a:lnTo>
                  <a:pt x="4966320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211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1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2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4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5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6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40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9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0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31683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70C477C-0616-4B25-AECC-C8579212EEC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46948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1CF97D-2FDA-4292-861E-0CA5A754E9C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2213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34B1061-2D91-4253-9DCF-0987EC9BF35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777478" y="1605183"/>
            <a:ext cx="2482837" cy="4462577"/>
          </a:xfrm>
          <a:custGeom>
            <a:avLst/>
            <a:gdLst>
              <a:gd name="connsiteX0" fmla="*/ 0 w 4966320"/>
              <a:gd name="connsiteY0" fmla="*/ 0 h 6705600"/>
              <a:gd name="connsiteX1" fmla="*/ 4966320 w 4966320"/>
              <a:gd name="connsiteY1" fmla="*/ 0 h 6705600"/>
              <a:gd name="connsiteX2" fmla="*/ 4966320 w 4966320"/>
              <a:gd name="connsiteY2" fmla="*/ 6705600 h 6705600"/>
              <a:gd name="connsiteX3" fmla="*/ 0 w 4966320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0" h="6705600">
                <a:moveTo>
                  <a:pt x="0" y="0"/>
                </a:moveTo>
                <a:lnTo>
                  <a:pt x="4966320" y="0"/>
                </a:lnTo>
                <a:lnTo>
                  <a:pt x="4966320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0804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81000" fill="hold" grpId="0" nodeType="with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7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8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81000" fill="hold" grpId="0" nodeType="withEffect" p14:presetBounceEnd="48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1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81000" fill="hold" grpId="0" nodeType="withEffect" p14:presetBounceEnd="48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5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16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81000" fill="hold" grpId="0" nodeType="withEffect" p14:presetBounceEnd="48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9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20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81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8100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8100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8100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244119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70C477C-0616-4B25-AECC-C8579212EEC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859384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1CF97D-2FDA-4292-861E-0CA5A754E9C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474649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4032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38000" decel="6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38000" decel="62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accel="38000" decel="62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49484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0F5ECF-FA0D-41F4-BED6-8DC0A070043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59608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FE8DDD-E08B-487F-939D-C82BD1C71F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9733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B6A14B1-5BD5-4CA2-86FC-A299F612707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779858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07080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38000" decel="6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accel="38000" decel="62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accel="38000" decel="62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38000" decel="62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5" grpId="0" animBg="1"/>
      <p:bldP spid="6" grpId="0" animBg="1"/>
      <p:bldP spid="7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4B8AA38-6F73-4586-B483-53523EF1116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86492" y="1828800"/>
            <a:ext cx="2348472" cy="1465730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35ECBCE-7512-4811-A88A-61113AE75F7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10007" y="1828800"/>
            <a:ext cx="2348472" cy="1465730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89E65B-19FF-4927-98A8-4E005823E9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333521" y="1828800"/>
            <a:ext cx="2348472" cy="1465730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DCF3998-E81D-49D7-B078-F19837D4418B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57035" y="1828800"/>
            <a:ext cx="2348472" cy="1465730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8072349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4B8AA38-6F73-4586-B483-53523EF1116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703761" y="2024522"/>
            <a:ext cx="2841651" cy="1773534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35ECBCE-7512-4811-A88A-61113AE75F7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661729" y="2024522"/>
            <a:ext cx="2841651" cy="1773534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89E65B-19FF-4927-98A8-4E005823E9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619697" y="2024522"/>
            <a:ext cx="2841651" cy="1773534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48860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41171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1909BFB-BB38-4018-AAEC-7D2EF2E710C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68282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6481C08-79AF-4EEB-B132-E05B8BF1A281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95393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A7E1B70-4896-4420-9B1A-59968879189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822504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41334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 C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ctr"/>
          </a:lstStyle>
          <a:p>
            <a:r>
              <a:t>Title Text</a:t>
            </a:r>
          </a:p>
        </p:txBody>
      </p:sp>
      <p:sp>
        <p:nvSpPr>
          <p:cNvPr id="23" name="Body Level One…"/>
          <p:cNvSpPr txBox="1">
            <a:spLocks noGrp="1"/>
          </p:cNvSpPr>
          <p:nvPr>
            <p:ph type="body" sz="half" idx="1"/>
          </p:nvPr>
        </p:nvSpPr>
        <p:spPr>
          <a:prstGeom prst="rect">
            <a:avLst/>
          </a:prstGeom>
        </p:spPr>
        <p:txBody>
          <a:bodyPr/>
          <a:lstStyle>
            <a:lvl1pPr algn="ctr"/>
            <a:lvl2pPr algn="ctr"/>
            <a:lvl3pPr algn="ctr"/>
            <a:lvl4pPr algn="ctr"/>
            <a:lvl5pPr algn="ctr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127011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205030" y="1237129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1909BFB-BB38-4018-AAEC-7D2EF2E710C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832141" y="1237129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6481C08-79AF-4EEB-B132-E05B8BF1A281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459252" y="1237129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146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20163" y="1536887"/>
            <a:ext cx="5297451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629835A-B777-47DB-A9E0-41743E09CD8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58464" y="1536887"/>
            <a:ext cx="5297451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1780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80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70586" y="443753"/>
            <a:ext cx="8812305" cy="5607424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6135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801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2898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Text"/>
          <p:cNvSpPr txBox="1">
            <a:spLocks noGrp="1"/>
          </p:cNvSpPr>
          <p:nvPr>
            <p:ph type="title"/>
          </p:nvPr>
        </p:nvSpPr>
        <p:spPr>
          <a:xfrm>
            <a:off x="540562" y="432000"/>
            <a:ext cx="11121187" cy="1080001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spcBef>
                <a:spcPts val="0"/>
              </a:spcBef>
              <a:defRPr sz="360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40562" y="972000"/>
            <a:ext cx="11121187" cy="540001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7F7F7F"/>
                </a:solidFill>
              </a:defRPr>
            </a:lvl1pPr>
            <a:lvl2pPr marL="746999" indent="-296999">
              <a:buSzPct val="100000"/>
              <a:buChar char="–"/>
              <a:defRPr sz="2200">
                <a:solidFill>
                  <a:srgbClr val="7F7F7F"/>
                </a:solidFill>
              </a:defRPr>
            </a:lvl2pPr>
            <a:lvl3pPr marL="1139999" indent="-330000">
              <a:buSzPct val="100000"/>
              <a:buChar char="–"/>
              <a:defRPr sz="2200">
                <a:solidFill>
                  <a:srgbClr val="7F7F7F"/>
                </a:solidFill>
              </a:defRPr>
            </a:lvl3pPr>
            <a:lvl4pPr marL="1541250" indent="-371250">
              <a:buSzPct val="100000"/>
              <a:buChar char="–"/>
              <a:defRPr sz="2200">
                <a:solidFill>
                  <a:srgbClr val="7F7F7F"/>
                </a:solidFill>
              </a:defRPr>
            </a:lvl4pPr>
            <a:lvl5pPr marL="1901250" indent="-371250">
              <a:buSzPct val="100000"/>
              <a:buChar char="–"/>
              <a:defRPr sz="2200">
                <a:solidFill>
                  <a:srgbClr val="7F7F7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102388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"/>
          <p:cNvSpPr>
            <a:spLocks noGrp="1"/>
          </p:cNvSpPr>
          <p:nvPr>
            <p:ph type="pic" idx="13"/>
          </p:nvPr>
        </p:nvSpPr>
        <p:spPr>
          <a:xfrm>
            <a:off x="0" y="0"/>
            <a:ext cx="12203126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1" name="Body Level One…"/>
          <p:cNvSpPr txBox="1">
            <a:spLocks noGrp="1"/>
          </p:cNvSpPr>
          <p:nvPr>
            <p:ph type="body" idx="1"/>
          </p:nvPr>
        </p:nvSpPr>
        <p:spPr>
          <a:xfrm>
            <a:off x="1935216" y="1512000"/>
            <a:ext cx="9726532" cy="4298401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rgbClr val="FFFFFF"/>
                </a:solidFill>
              </a:defRPr>
            </a:lvl1pPr>
            <a:lvl2pPr marL="990000" indent="-540000">
              <a:buSzPct val="100000"/>
              <a:buChar char="–"/>
              <a:defRPr sz="4000">
                <a:solidFill>
                  <a:srgbClr val="FFFFFF"/>
                </a:solidFill>
              </a:defRPr>
            </a:lvl2pPr>
            <a:lvl3pPr marL="1409999" indent="-600000">
              <a:buSzPct val="100000"/>
              <a:buChar char="–"/>
              <a:defRPr sz="4000">
                <a:solidFill>
                  <a:srgbClr val="FFFFFF"/>
                </a:solidFill>
              </a:defRPr>
            </a:lvl3pPr>
            <a:lvl4pPr marL="1844999" indent="-674999">
              <a:buSzPct val="100000"/>
              <a:buChar char="–"/>
              <a:defRPr sz="4000">
                <a:solidFill>
                  <a:srgbClr val="FFFFFF"/>
                </a:solidFill>
              </a:defRPr>
            </a:lvl4pPr>
            <a:lvl5pPr marL="2204999" indent="-674999">
              <a:buSzPct val="100000"/>
              <a:buChar char="–"/>
              <a:defRPr sz="4000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1040857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8333735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64184" y="6591797"/>
            <a:ext cx="179723" cy="184666"/>
          </a:xfrm>
        </p:spPr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1656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71" y="432000"/>
            <a:ext cx="11111046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40071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11/7/19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540562" y="6259334"/>
            <a:ext cx="179723" cy="184666"/>
          </a:xfrm>
        </p:spPr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68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D42658-DB5E-304D-AE44-CECC4CFDA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B8777-8E10-444B-8EE2-B0400C8302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5FF98-BD0A-C644-A374-E615820F3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EBE275-4171-EE40-8D8F-57E82A93C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025C06-C9DD-4142-8A61-9A992E809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8396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und"/>
          <p:cNvSpPr/>
          <p:nvPr userDrawn="1"/>
        </p:nvSpPr>
        <p:spPr bwMode="gray">
          <a:xfrm>
            <a:off x="0" y="0"/>
            <a:ext cx="12192000" cy="58166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7" name="Bar"/>
          <p:cNvSpPr/>
          <p:nvPr userDrawn="1"/>
        </p:nvSpPr>
        <p:spPr bwMode="ltGray">
          <a:xfrm>
            <a:off x="0" y="5816600"/>
            <a:ext cx="12192000" cy="104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gray">
          <a:xfrm>
            <a:off x="1055344" y="0"/>
            <a:ext cx="10081312" cy="3744000"/>
          </a:xfr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999"/>
              </a:spcAft>
              <a:defRPr sz="8792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 bwMode="gray">
          <a:xfrm>
            <a:off x="1055344" y="3744000"/>
            <a:ext cx="10081312" cy="2070000"/>
          </a:xfrm>
        </p:spPr>
        <p:txBody>
          <a:bodyPr/>
          <a:lstStyle>
            <a:lvl1pPr marL="0" indent="0" algn="l">
              <a:buNone/>
              <a:defRPr sz="4396">
                <a:solidFill>
                  <a:srgbClr val="B2B2B2"/>
                </a:solidFill>
              </a:defRPr>
            </a:lvl1pPr>
            <a:lvl2pPr marL="4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11/7/19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und"/>
          <p:cNvSpPr/>
          <p:nvPr userDrawn="1"/>
        </p:nvSpPr>
        <p:spPr bwMode="gray">
          <a:xfrm>
            <a:off x="0" y="0"/>
            <a:ext cx="12192000" cy="58166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7" name="Bar"/>
          <p:cNvSpPr/>
          <p:nvPr userDrawn="1"/>
        </p:nvSpPr>
        <p:spPr bwMode="ltGray">
          <a:xfrm>
            <a:off x="0" y="5816600"/>
            <a:ext cx="12192000" cy="104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gray">
          <a:xfrm>
            <a:off x="1055344" y="0"/>
            <a:ext cx="10081312" cy="3744000"/>
          </a:xfrm>
        </p:spPr>
        <p:txBody>
          <a:bodyPr anchor="b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999"/>
              </a:spcAft>
              <a:defRPr sz="8792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 bwMode="gray">
          <a:xfrm>
            <a:off x="1055344" y="3744000"/>
            <a:ext cx="10081312" cy="2070000"/>
          </a:xfrm>
        </p:spPr>
        <p:txBody>
          <a:bodyPr/>
          <a:lstStyle>
            <a:lvl1pPr marL="0" indent="0" algn="ctr">
              <a:buNone/>
              <a:defRPr sz="4396">
                <a:solidFill>
                  <a:srgbClr val="B2B2B2"/>
                </a:solidFill>
              </a:defRPr>
            </a:lvl1pPr>
            <a:lvl2pPr marL="4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11/7/19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90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71" y="432000"/>
            <a:ext cx="11111046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40071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11/7/19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37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"/>
          </p:nvPr>
        </p:nvSpPr>
        <p:spPr>
          <a:xfrm>
            <a:off x="1933452" y="1512000"/>
            <a:ext cx="9717665" cy="4298400"/>
          </a:xfrm>
        </p:spPr>
        <p:txBody>
          <a:bodyPr/>
          <a:lstStyle>
            <a:lvl1pPr marL="0" indent="0">
              <a:buNone/>
              <a:defRPr sz="399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>
          <a:xfrm>
            <a:off x="10210930" y="6084000"/>
            <a:ext cx="1440187" cy="360000"/>
          </a:xfrm>
        </p:spPr>
        <p:txBody>
          <a:bodyPr/>
          <a:lstStyle/>
          <a:p>
            <a:fld id="{27FC3DAB-407D-4279-8EB6-232635B61438}" type="datetimeFigureOut">
              <a:rPr lang="en-US" smtClean="0"/>
              <a:t>11/7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98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41579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29BD8A-FFFE-7643-877D-A4C698EC7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9734BA-1F23-0B40-88F3-A02BC19AF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2FCB1-46A3-1E4A-A7E3-18827855E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9878A0-99A2-BC4C-BC36-983099855E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929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5606853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5F991-6CFD-437B-A030-A88DDDD60E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BF54B1-5C90-4C71-A752-1E73C904EC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90586-D5F8-4EB8-9338-AF8B60B88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E09A1-11A7-4C59-A733-057B86D25934}" type="datetimeFigureOut">
              <a:rPr lang="en-GB" smtClean="0"/>
              <a:t>08/1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459AFC-F315-4061-8E92-CCF0FB030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51F8BC-1F5C-4077-900A-5159DC7AB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35981-CE6F-4888-B590-309E6AB50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25234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0095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264B671-04FB-4BF2-A3C9-AA2C3E69CAC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41113" y="2094807"/>
            <a:ext cx="4180758" cy="2651760"/>
          </a:xfrm>
          <a:custGeom>
            <a:avLst/>
            <a:gdLst>
              <a:gd name="connsiteX0" fmla="*/ 0 w 8362604"/>
              <a:gd name="connsiteY0" fmla="*/ 0 h 5303520"/>
              <a:gd name="connsiteX1" fmla="*/ 8362604 w 8362604"/>
              <a:gd name="connsiteY1" fmla="*/ 0 h 5303520"/>
              <a:gd name="connsiteX2" fmla="*/ 8362604 w 8362604"/>
              <a:gd name="connsiteY2" fmla="*/ 5303520 h 5303520"/>
              <a:gd name="connsiteX3" fmla="*/ 0 w 8362604"/>
              <a:gd name="connsiteY3" fmla="*/ 5303520 h 530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2604" h="5303520">
                <a:moveTo>
                  <a:pt x="0" y="0"/>
                </a:moveTo>
                <a:lnTo>
                  <a:pt x="8362604" y="0"/>
                </a:lnTo>
                <a:lnTo>
                  <a:pt x="8362604" y="5303520"/>
                </a:lnTo>
                <a:lnTo>
                  <a:pt x="0" y="5303520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350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20000" decel="8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61E48-0EA6-5F45-B3C2-17B14CA20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F9FBB9-9ECD-DB41-871B-87D1BA3E1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AB46DB-849C-D742-965A-A8313585C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070A0E-67A0-6746-818F-007A24EFB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7E1831-7129-5343-A655-84F523E69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8247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113A180-F724-41FE-9C73-4938D5C7BB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84515" y="-156137"/>
            <a:ext cx="2344011" cy="3158444"/>
          </a:xfrm>
          <a:custGeom>
            <a:avLst/>
            <a:gdLst>
              <a:gd name="connsiteX0" fmla="*/ 0 w 4688633"/>
              <a:gd name="connsiteY0" fmla="*/ 0 h 6316888"/>
              <a:gd name="connsiteX1" fmla="*/ 4688633 w 4688633"/>
              <a:gd name="connsiteY1" fmla="*/ 0 h 6316888"/>
              <a:gd name="connsiteX2" fmla="*/ 4688633 w 4688633"/>
              <a:gd name="connsiteY2" fmla="*/ 6316888 h 6316888"/>
              <a:gd name="connsiteX3" fmla="*/ 0 w 4688633"/>
              <a:gd name="connsiteY3" fmla="*/ 6316888 h 631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88633" h="6316888">
                <a:moveTo>
                  <a:pt x="0" y="0"/>
                </a:moveTo>
                <a:lnTo>
                  <a:pt x="4688633" y="0"/>
                </a:lnTo>
                <a:lnTo>
                  <a:pt x="4688633" y="6316888"/>
                </a:lnTo>
                <a:lnTo>
                  <a:pt x="0" y="6316888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960CD4A-87FE-40AC-AFBD-D7F9C99F57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5081" y="1302855"/>
            <a:ext cx="2344011" cy="3158444"/>
          </a:xfrm>
          <a:custGeom>
            <a:avLst/>
            <a:gdLst>
              <a:gd name="connsiteX0" fmla="*/ 0 w 4688633"/>
              <a:gd name="connsiteY0" fmla="*/ 0 h 6316888"/>
              <a:gd name="connsiteX1" fmla="*/ 4688633 w 4688633"/>
              <a:gd name="connsiteY1" fmla="*/ 0 h 6316888"/>
              <a:gd name="connsiteX2" fmla="*/ 4688633 w 4688633"/>
              <a:gd name="connsiteY2" fmla="*/ 6316888 h 6316888"/>
              <a:gd name="connsiteX3" fmla="*/ 0 w 4688633"/>
              <a:gd name="connsiteY3" fmla="*/ 6316888 h 631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88633" h="6316888">
                <a:moveTo>
                  <a:pt x="0" y="0"/>
                </a:moveTo>
                <a:lnTo>
                  <a:pt x="4688633" y="0"/>
                </a:lnTo>
                <a:lnTo>
                  <a:pt x="4688633" y="6316888"/>
                </a:lnTo>
                <a:lnTo>
                  <a:pt x="0" y="6316888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1A87CAC-ECB9-4C53-BF71-04AECD02A2B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5081" y="-2730798"/>
            <a:ext cx="2344011" cy="3158444"/>
          </a:xfrm>
          <a:custGeom>
            <a:avLst/>
            <a:gdLst>
              <a:gd name="connsiteX0" fmla="*/ 0 w 4688633"/>
              <a:gd name="connsiteY0" fmla="*/ 0 h 6316888"/>
              <a:gd name="connsiteX1" fmla="*/ 4688633 w 4688633"/>
              <a:gd name="connsiteY1" fmla="*/ 0 h 6316888"/>
              <a:gd name="connsiteX2" fmla="*/ 4688633 w 4688633"/>
              <a:gd name="connsiteY2" fmla="*/ 6316888 h 6316888"/>
              <a:gd name="connsiteX3" fmla="*/ 0 w 4688633"/>
              <a:gd name="connsiteY3" fmla="*/ 6316888 h 631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88633" h="6316888">
                <a:moveTo>
                  <a:pt x="0" y="0"/>
                </a:moveTo>
                <a:lnTo>
                  <a:pt x="4688633" y="0"/>
                </a:lnTo>
                <a:lnTo>
                  <a:pt x="4688633" y="6316888"/>
                </a:lnTo>
                <a:lnTo>
                  <a:pt x="0" y="6316888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FB88B6E-A732-40E0-97CA-F22AED92B6D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84515" y="3870622"/>
            <a:ext cx="2344011" cy="3158444"/>
          </a:xfrm>
          <a:custGeom>
            <a:avLst/>
            <a:gdLst>
              <a:gd name="connsiteX0" fmla="*/ 0 w 4688633"/>
              <a:gd name="connsiteY0" fmla="*/ 0 h 6316888"/>
              <a:gd name="connsiteX1" fmla="*/ 4688633 w 4688633"/>
              <a:gd name="connsiteY1" fmla="*/ 0 h 6316888"/>
              <a:gd name="connsiteX2" fmla="*/ 4688633 w 4688633"/>
              <a:gd name="connsiteY2" fmla="*/ 6316888 h 6316888"/>
              <a:gd name="connsiteX3" fmla="*/ 0 w 4688633"/>
              <a:gd name="connsiteY3" fmla="*/ 6316888 h 631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88633" h="6316888">
                <a:moveTo>
                  <a:pt x="0" y="0"/>
                </a:moveTo>
                <a:lnTo>
                  <a:pt x="4688633" y="0"/>
                </a:lnTo>
                <a:lnTo>
                  <a:pt x="4688633" y="6316888"/>
                </a:lnTo>
                <a:lnTo>
                  <a:pt x="0" y="6316888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13DDE8C-881D-4F96-B5B5-30317AE41EF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5081" y="5329613"/>
            <a:ext cx="2344011" cy="3158444"/>
          </a:xfrm>
          <a:custGeom>
            <a:avLst/>
            <a:gdLst>
              <a:gd name="connsiteX0" fmla="*/ 0 w 4688633"/>
              <a:gd name="connsiteY0" fmla="*/ 0 h 6316888"/>
              <a:gd name="connsiteX1" fmla="*/ 4688633 w 4688633"/>
              <a:gd name="connsiteY1" fmla="*/ 0 h 6316888"/>
              <a:gd name="connsiteX2" fmla="*/ 4688633 w 4688633"/>
              <a:gd name="connsiteY2" fmla="*/ 6316888 h 6316888"/>
              <a:gd name="connsiteX3" fmla="*/ 0 w 4688633"/>
              <a:gd name="connsiteY3" fmla="*/ 6316888 h 631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88633" h="6316888">
                <a:moveTo>
                  <a:pt x="0" y="0"/>
                </a:moveTo>
                <a:lnTo>
                  <a:pt x="4688633" y="0"/>
                </a:lnTo>
                <a:lnTo>
                  <a:pt x="4688633" y="6316888"/>
                </a:lnTo>
                <a:lnTo>
                  <a:pt x="0" y="6316888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9114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20000" decel="8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20000" decel="8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20000" decel="8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accel="20000" decel="8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5" grpId="0" animBg="1"/>
      <p:bldP spid="17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34B5EFF-238C-40C8-BE5C-108DBD4C9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6612" y="2626427"/>
            <a:ext cx="4618177" cy="2930056"/>
          </a:xfrm>
          <a:custGeom>
            <a:avLst/>
            <a:gdLst>
              <a:gd name="connsiteX0" fmla="*/ 0 w 9237556"/>
              <a:gd name="connsiteY0" fmla="*/ 0 h 5860112"/>
              <a:gd name="connsiteX1" fmla="*/ 9237556 w 9237556"/>
              <a:gd name="connsiteY1" fmla="*/ 0 h 5860112"/>
              <a:gd name="connsiteX2" fmla="*/ 9237556 w 9237556"/>
              <a:gd name="connsiteY2" fmla="*/ 5860112 h 5860112"/>
              <a:gd name="connsiteX3" fmla="*/ 0 w 9237556"/>
              <a:gd name="connsiteY3" fmla="*/ 5860112 h 5860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7556" h="5860112">
                <a:moveTo>
                  <a:pt x="0" y="0"/>
                </a:moveTo>
                <a:lnTo>
                  <a:pt x="9237556" y="0"/>
                </a:lnTo>
                <a:lnTo>
                  <a:pt x="9237556" y="5860112"/>
                </a:lnTo>
                <a:lnTo>
                  <a:pt x="0" y="5860112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B8B193-21A9-4911-ADF6-A6B0D3604D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921200" y="3758964"/>
            <a:ext cx="989829" cy="2054546"/>
          </a:xfrm>
          <a:custGeom>
            <a:avLst/>
            <a:gdLst>
              <a:gd name="connsiteX0" fmla="*/ 237450 w 1979915"/>
              <a:gd name="connsiteY0" fmla="*/ 0 h 4109092"/>
              <a:gd name="connsiteX1" fmla="*/ 410300 w 1979915"/>
              <a:gd name="connsiteY1" fmla="*/ 0 h 4109092"/>
              <a:gd name="connsiteX2" fmla="*/ 445219 w 1979915"/>
              <a:gd name="connsiteY2" fmla="*/ 34956 h 4109092"/>
              <a:gd name="connsiteX3" fmla="*/ 572674 w 1979915"/>
              <a:gd name="connsiteY3" fmla="*/ 162546 h 4109092"/>
              <a:gd name="connsiteX4" fmla="*/ 1407241 w 1979915"/>
              <a:gd name="connsiteY4" fmla="*/ 162546 h 4109092"/>
              <a:gd name="connsiteX5" fmla="*/ 1534696 w 1979915"/>
              <a:gd name="connsiteY5" fmla="*/ 34956 h 4109092"/>
              <a:gd name="connsiteX6" fmla="*/ 1569615 w 1979915"/>
              <a:gd name="connsiteY6" fmla="*/ 0 h 4109092"/>
              <a:gd name="connsiteX7" fmla="*/ 1742465 w 1979915"/>
              <a:gd name="connsiteY7" fmla="*/ 0 h 4109092"/>
              <a:gd name="connsiteX8" fmla="*/ 1979915 w 1979915"/>
              <a:gd name="connsiteY8" fmla="*/ 239449 h 4109092"/>
              <a:gd name="connsiteX9" fmla="*/ 1979915 w 1979915"/>
              <a:gd name="connsiteY9" fmla="*/ 3869643 h 4109092"/>
              <a:gd name="connsiteX10" fmla="*/ 1742465 w 1979915"/>
              <a:gd name="connsiteY10" fmla="*/ 4109092 h 4109092"/>
              <a:gd name="connsiteX11" fmla="*/ 237450 w 1979915"/>
              <a:gd name="connsiteY11" fmla="*/ 4109092 h 4109092"/>
              <a:gd name="connsiteX12" fmla="*/ 0 w 1979915"/>
              <a:gd name="connsiteY12" fmla="*/ 3869643 h 4109092"/>
              <a:gd name="connsiteX13" fmla="*/ 0 w 1979915"/>
              <a:gd name="connsiteY13" fmla="*/ 239449 h 4109092"/>
              <a:gd name="connsiteX14" fmla="*/ 237450 w 1979915"/>
              <a:gd name="connsiteY14" fmla="*/ 0 h 4109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79915" h="4109092">
                <a:moveTo>
                  <a:pt x="237450" y="0"/>
                </a:moveTo>
                <a:cubicBezTo>
                  <a:pt x="237450" y="0"/>
                  <a:pt x="237450" y="0"/>
                  <a:pt x="410300" y="0"/>
                </a:cubicBezTo>
                <a:cubicBezTo>
                  <a:pt x="429506" y="0"/>
                  <a:pt x="445219" y="15730"/>
                  <a:pt x="445219" y="34956"/>
                </a:cubicBezTo>
                <a:cubicBezTo>
                  <a:pt x="445219" y="106616"/>
                  <a:pt x="501090" y="162546"/>
                  <a:pt x="572674" y="162546"/>
                </a:cubicBezTo>
                <a:cubicBezTo>
                  <a:pt x="572674" y="162546"/>
                  <a:pt x="572674" y="162546"/>
                  <a:pt x="1407241" y="162546"/>
                </a:cubicBezTo>
                <a:cubicBezTo>
                  <a:pt x="1477080" y="162546"/>
                  <a:pt x="1534696" y="106616"/>
                  <a:pt x="1534696" y="34956"/>
                </a:cubicBezTo>
                <a:cubicBezTo>
                  <a:pt x="1534696" y="15730"/>
                  <a:pt x="1550410" y="0"/>
                  <a:pt x="1569615" y="0"/>
                </a:cubicBezTo>
                <a:cubicBezTo>
                  <a:pt x="1569615" y="0"/>
                  <a:pt x="1569615" y="0"/>
                  <a:pt x="1742465" y="0"/>
                </a:cubicBezTo>
                <a:cubicBezTo>
                  <a:pt x="1873412" y="0"/>
                  <a:pt x="1978169" y="106616"/>
                  <a:pt x="1979915" y="239449"/>
                </a:cubicBezTo>
                <a:cubicBezTo>
                  <a:pt x="1979915" y="239449"/>
                  <a:pt x="1979915" y="239449"/>
                  <a:pt x="1979915" y="3869643"/>
                </a:cubicBezTo>
                <a:cubicBezTo>
                  <a:pt x="1978169" y="4002476"/>
                  <a:pt x="1873412" y="4109092"/>
                  <a:pt x="1742465" y="4109092"/>
                </a:cubicBezTo>
                <a:cubicBezTo>
                  <a:pt x="1742465" y="4109092"/>
                  <a:pt x="1742465" y="4109092"/>
                  <a:pt x="237450" y="4109092"/>
                </a:cubicBezTo>
                <a:cubicBezTo>
                  <a:pt x="106503" y="4109092"/>
                  <a:pt x="0" y="4000728"/>
                  <a:pt x="0" y="3869643"/>
                </a:cubicBezTo>
                <a:cubicBezTo>
                  <a:pt x="0" y="3869643"/>
                  <a:pt x="0" y="3869643"/>
                  <a:pt x="0" y="239449"/>
                </a:cubicBezTo>
                <a:cubicBezTo>
                  <a:pt x="0" y="108364"/>
                  <a:pt x="106503" y="0"/>
                  <a:pt x="237450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12EAB8-FC4C-4BF1-ABD1-C6F7F35FB71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61187" y="3306316"/>
            <a:ext cx="1767618" cy="2381781"/>
          </a:xfrm>
          <a:custGeom>
            <a:avLst/>
            <a:gdLst>
              <a:gd name="connsiteX0" fmla="*/ 0 w 3535696"/>
              <a:gd name="connsiteY0" fmla="*/ 0 h 4763562"/>
              <a:gd name="connsiteX1" fmla="*/ 3535696 w 3535696"/>
              <a:gd name="connsiteY1" fmla="*/ 0 h 4763562"/>
              <a:gd name="connsiteX2" fmla="*/ 3535696 w 3535696"/>
              <a:gd name="connsiteY2" fmla="*/ 4763562 h 4763562"/>
              <a:gd name="connsiteX3" fmla="*/ 0 w 3535696"/>
              <a:gd name="connsiteY3" fmla="*/ 4763562 h 4763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696" h="4763562">
                <a:moveTo>
                  <a:pt x="0" y="0"/>
                </a:moveTo>
                <a:lnTo>
                  <a:pt x="3535696" y="0"/>
                </a:lnTo>
                <a:lnTo>
                  <a:pt x="3535696" y="4763562"/>
                </a:lnTo>
                <a:lnTo>
                  <a:pt x="0" y="4763562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5187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20000" decel="8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20000" decel="8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12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CBF66C0-0EAC-492F-A28F-DB86D5A3ACB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705267" y="1529578"/>
            <a:ext cx="3417157" cy="7092850"/>
          </a:xfrm>
          <a:custGeom>
            <a:avLst/>
            <a:gdLst>
              <a:gd name="connsiteX0" fmla="*/ 819742 w 6835203"/>
              <a:gd name="connsiteY0" fmla="*/ 0 h 14185700"/>
              <a:gd name="connsiteX1" fmla="*/ 1416466 w 6835203"/>
              <a:gd name="connsiteY1" fmla="*/ 0 h 14185700"/>
              <a:gd name="connsiteX2" fmla="*/ 1537016 w 6835203"/>
              <a:gd name="connsiteY2" fmla="*/ 120678 h 14185700"/>
              <a:gd name="connsiteX3" fmla="*/ 1977025 w 6835203"/>
              <a:gd name="connsiteY3" fmla="*/ 561153 h 14185700"/>
              <a:gd name="connsiteX4" fmla="*/ 4858178 w 6835203"/>
              <a:gd name="connsiteY4" fmla="*/ 561153 h 14185700"/>
              <a:gd name="connsiteX5" fmla="*/ 5298186 w 6835203"/>
              <a:gd name="connsiteY5" fmla="*/ 120678 h 14185700"/>
              <a:gd name="connsiteX6" fmla="*/ 5418737 w 6835203"/>
              <a:gd name="connsiteY6" fmla="*/ 0 h 14185700"/>
              <a:gd name="connsiteX7" fmla="*/ 6015461 w 6835203"/>
              <a:gd name="connsiteY7" fmla="*/ 0 h 14185700"/>
              <a:gd name="connsiteX8" fmla="*/ 6835203 w 6835203"/>
              <a:gd name="connsiteY8" fmla="*/ 826644 h 14185700"/>
              <a:gd name="connsiteX9" fmla="*/ 6835203 w 6835203"/>
              <a:gd name="connsiteY9" fmla="*/ 13359055 h 14185700"/>
              <a:gd name="connsiteX10" fmla="*/ 6015461 w 6835203"/>
              <a:gd name="connsiteY10" fmla="*/ 14185700 h 14185700"/>
              <a:gd name="connsiteX11" fmla="*/ 819742 w 6835203"/>
              <a:gd name="connsiteY11" fmla="*/ 14185700 h 14185700"/>
              <a:gd name="connsiteX12" fmla="*/ 0 w 6835203"/>
              <a:gd name="connsiteY12" fmla="*/ 13359055 h 14185700"/>
              <a:gd name="connsiteX13" fmla="*/ 0 w 6835203"/>
              <a:gd name="connsiteY13" fmla="*/ 826644 h 14185700"/>
              <a:gd name="connsiteX14" fmla="*/ 819742 w 6835203"/>
              <a:gd name="connsiteY14" fmla="*/ 0 h 1418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35203" h="14185700">
                <a:moveTo>
                  <a:pt x="819742" y="0"/>
                </a:moveTo>
                <a:cubicBezTo>
                  <a:pt x="819742" y="0"/>
                  <a:pt x="819742" y="0"/>
                  <a:pt x="1416466" y="0"/>
                </a:cubicBezTo>
                <a:cubicBezTo>
                  <a:pt x="1482769" y="0"/>
                  <a:pt x="1537016" y="54305"/>
                  <a:pt x="1537016" y="120678"/>
                </a:cubicBezTo>
                <a:cubicBezTo>
                  <a:pt x="1537016" y="368068"/>
                  <a:pt x="1729897" y="561153"/>
                  <a:pt x="1977025" y="561153"/>
                </a:cubicBezTo>
                <a:cubicBezTo>
                  <a:pt x="1977025" y="561153"/>
                  <a:pt x="1977025" y="561153"/>
                  <a:pt x="4858178" y="561153"/>
                </a:cubicBezTo>
                <a:cubicBezTo>
                  <a:pt x="5099278" y="561153"/>
                  <a:pt x="5298186" y="368068"/>
                  <a:pt x="5298186" y="120678"/>
                </a:cubicBezTo>
                <a:cubicBezTo>
                  <a:pt x="5298186" y="54305"/>
                  <a:pt x="5352434" y="0"/>
                  <a:pt x="5418737" y="0"/>
                </a:cubicBezTo>
                <a:cubicBezTo>
                  <a:pt x="5418737" y="0"/>
                  <a:pt x="5418737" y="0"/>
                  <a:pt x="6015461" y="0"/>
                </a:cubicBezTo>
                <a:cubicBezTo>
                  <a:pt x="6467524" y="0"/>
                  <a:pt x="6829176" y="368068"/>
                  <a:pt x="6835203" y="826644"/>
                </a:cubicBezTo>
                <a:cubicBezTo>
                  <a:pt x="6835203" y="826644"/>
                  <a:pt x="6835203" y="826644"/>
                  <a:pt x="6835203" y="13359055"/>
                </a:cubicBezTo>
                <a:cubicBezTo>
                  <a:pt x="6829176" y="13817632"/>
                  <a:pt x="6467524" y="14185700"/>
                  <a:pt x="6015461" y="14185700"/>
                </a:cubicBezTo>
                <a:cubicBezTo>
                  <a:pt x="6015461" y="14185700"/>
                  <a:pt x="6015461" y="14185700"/>
                  <a:pt x="819742" y="14185700"/>
                </a:cubicBezTo>
                <a:cubicBezTo>
                  <a:pt x="367678" y="14185700"/>
                  <a:pt x="0" y="13811596"/>
                  <a:pt x="0" y="13359055"/>
                </a:cubicBezTo>
                <a:cubicBezTo>
                  <a:pt x="0" y="13359055"/>
                  <a:pt x="0" y="13359055"/>
                  <a:pt x="0" y="826644"/>
                </a:cubicBezTo>
                <a:cubicBezTo>
                  <a:pt x="0" y="374102"/>
                  <a:pt x="367678" y="0"/>
                  <a:pt x="819742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32205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B259CB-2195-4F6E-9097-B58EE3CF046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91869" y="2226758"/>
            <a:ext cx="8822445" cy="5270646"/>
          </a:xfrm>
          <a:custGeom>
            <a:avLst/>
            <a:gdLst>
              <a:gd name="connsiteX0" fmla="*/ 0 w 17647188"/>
              <a:gd name="connsiteY0" fmla="*/ 0 h 10541292"/>
              <a:gd name="connsiteX1" fmla="*/ 17647188 w 17647188"/>
              <a:gd name="connsiteY1" fmla="*/ 0 h 10541292"/>
              <a:gd name="connsiteX2" fmla="*/ 17647188 w 17647188"/>
              <a:gd name="connsiteY2" fmla="*/ 10541292 h 10541292"/>
              <a:gd name="connsiteX3" fmla="*/ 0 w 17647188"/>
              <a:gd name="connsiteY3" fmla="*/ 10541292 h 10541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7188" h="10541292">
                <a:moveTo>
                  <a:pt x="0" y="0"/>
                </a:moveTo>
                <a:lnTo>
                  <a:pt x="17647188" y="0"/>
                </a:lnTo>
                <a:lnTo>
                  <a:pt x="17647188" y="10541292"/>
                </a:lnTo>
                <a:lnTo>
                  <a:pt x="0" y="10541292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CEADC5E-6949-4E34-8F9C-B5ED064D95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38835" y="2783712"/>
            <a:ext cx="2048311" cy="4252614"/>
          </a:xfrm>
          <a:custGeom>
            <a:avLst/>
            <a:gdLst>
              <a:gd name="connsiteX0" fmla="*/ 491457 w 4097155"/>
              <a:gd name="connsiteY0" fmla="*/ 0 h 8505228"/>
              <a:gd name="connsiteX1" fmla="*/ 847688 w 4097155"/>
              <a:gd name="connsiteY1" fmla="*/ 0 h 8505228"/>
              <a:gd name="connsiteX2" fmla="*/ 920346 w 4097155"/>
              <a:gd name="connsiteY2" fmla="*/ 73444 h 8505228"/>
              <a:gd name="connsiteX3" fmla="*/ 1182725 w 4097155"/>
              <a:gd name="connsiteY3" fmla="*/ 338658 h 8505228"/>
              <a:gd name="connsiteX4" fmla="*/ 2912412 w 4097155"/>
              <a:gd name="connsiteY4" fmla="*/ 338658 h 8505228"/>
              <a:gd name="connsiteX5" fmla="*/ 3174791 w 4097155"/>
              <a:gd name="connsiteY5" fmla="*/ 73444 h 8505228"/>
              <a:gd name="connsiteX6" fmla="*/ 3247449 w 4097155"/>
              <a:gd name="connsiteY6" fmla="*/ 0 h 8505228"/>
              <a:gd name="connsiteX7" fmla="*/ 3604689 w 4097155"/>
              <a:gd name="connsiteY7" fmla="*/ 0 h 8505228"/>
              <a:gd name="connsiteX8" fmla="*/ 4097155 w 4097155"/>
              <a:gd name="connsiteY8" fmla="*/ 494727 h 8505228"/>
              <a:gd name="connsiteX9" fmla="*/ 4097155 w 4097155"/>
              <a:gd name="connsiteY9" fmla="*/ 8010502 h 8505228"/>
              <a:gd name="connsiteX10" fmla="*/ 3604689 w 4097155"/>
              <a:gd name="connsiteY10" fmla="*/ 8505228 h 8505228"/>
              <a:gd name="connsiteX11" fmla="*/ 491457 w 4097155"/>
              <a:gd name="connsiteY11" fmla="*/ 8505228 h 8505228"/>
              <a:gd name="connsiteX12" fmla="*/ 0 w 4097155"/>
              <a:gd name="connsiteY12" fmla="*/ 8008462 h 8505228"/>
              <a:gd name="connsiteX13" fmla="*/ 0 w 4097155"/>
              <a:gd name="connsiteY13" fmla="*/ 497788 h 8505228"/>
              <a:gd name="connsiteX14" fmla="*/ 491457 w 4097155"/>
              <a:gd name="connsiteY14" fmla="*/ 0 h 8505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97155" h="8505228">
                <a:moveTo>
                  <a:pt x="491457" y="0"/>
                </a:moveTo>
                <a:cubicBezTo>
                  <a:pt x="491457" y="0"/>
                  <a:pt x="491457" y="0"/>
                  <a:pt x="847688" y="0"/>
                </a:cubicBezTo>
                <a:cubicBezTo>
                  <a:pt x="888053" y="0"/>
                  <a:pt x="920346" y="33662"/>
                  <a:pt x="920346" y="73444"/>
                </a:cubicBezTo>
                <a:cubicBezTo>
                  <a:pt x="920346" y="220332"/>
                  <a:pt x="1037407" y="338658"/>
                  <a:pt x="1182725" y="338658"/>
                </a:cubicBezTo>
                <a:cubicBezTo>
                  <a:pt x="1182725" y="338658"/>
                  <a:pt x="1182725" y="338658"/>
                  <a:pt x="2912412" y="338658"/>
                </a:cubicBezTo>
                <a:cubicBezTo>
                  <a:pt x="3057728" y="338658"/>
                  <a:pt x="3174791" y="220332"/>
                  <a:pt x="3174791" y="73444"/>
                </a:cubicBezTo>
                <a:cubicBezTo>
                  <a:pt x="3174791" y="33662"/>
                  <a:pt x="3208093" y="0"/>
                  <a:pt x="3247449" y="0"/>
                </a:cubicBezTo>
                <a:cubicBezTo>
                  <a:pt x="3247449" y="0"/>
                  <a:pt x="3247449" y="0"/>
                  <a:pt x="3604689" y="0"/>
                </a:cubicBezTo>
                <a:cubicBezTo>
                  <a:pt x="3875141" y="0"/>
                  <a:pt x="4095137" y="221352"/>
                  <a:pt x="4097155" y="494727"/>
                </a:cubicBezTo>
                <a:cubicBezTo>
                  <a:pt x="4097155" y="494727"/>
                  <a:pt x="4097155" y="494727"/>
                  <a:pt x="4097155" y="8010502"/>
                </a:cubicBezTo>
                <a:cubicBezTo>
                  <a:pt x="4095137" y="8283876"/>
                  <a:pt x="3875141" y="8505228"/>
                  <a:pt x="3604689" y="8505228"/>
                </a:cubicBezTo>
                <a:cubicBezTo>
                  <a:pt x="3604689" y="8505228"/>
                  <a:pt x="3604689" y="8505228"/>
                  <a:pt x="491457" y="8505228"/>
                </a:cubicBezTo>
                <a:cubicBezTo>
                  <a:pt x="219995" y="8505228"/>
                  <a:pt x="0" y="8282856"/>
                  <a:pt x="0" y="8008462"/>
                </a:cubicBezTo>
                <a:cubicBezTo>
                  <a:pt x="0" y="8008462"/>
                  <a:pt x="0" y="8008462"/>
                  <a:pt x="0" y="497788"/>
                </a:cubicBezTo>
                <a:cubicBezTo>
                  <a:pt x="0" y="223391"/>
                  <a:pt x="219995" y="0"/>
                  <a:pt x="491457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15508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036E25-B8DE-4A4F-92C9-8B174C40951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 rot="18000000">
            <a:off x="1294199" y="2808507"/>
            <a:ext cx="5456300" cy="7350189"/>
          </a:xfrm>
          <a:custGeom>
            <a:avLst/>
            <a:gdLst>
              <a:gd name="connsiteX0" fmla="*/ 10912598 w 10912599"/>
              <a:gd name="connsiteY0" fmla="*/ 0 h 14702293"/>
              <a:gd name="connsiteX1" fmla="*/ 10912599 w 10912599"/>
              <a:gd name="connsiteY1" fmla="*/ 14702293 h 14702293"/>
              <a:gd name="connsiteX2" fmla="*/ 0 w 10912599"/>
              <a:gd name="connsiteY2" fmla="*/ 14702292 h 14702293"/>
              <a:gd name="connsiteX3" fmla="*/ 0 w 10912599"/>
              <a:gd name="connsiteY3" fmla="*/ 1 h 14702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12599" h="14702293">
                <a:moveTo>
                  <a:pt x="10912598" y="0"/>
                </a:moveTo>
                <a:lnTo>
                  <a:pt x="10912599" y="14702293"/>
                </a:lnTo>
                <a:lnTo>
                  <a:pt x="0" y="14702292"/>
                </a:lnTo>
                <a:lnTo>
                  <a:pt x="0" y="1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F6CDAD3-6FA8-4842-8F92-9C214B8F2C5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 rot="18000000">
            <a:off x="6227506" y="-2030194"/>
            <a:ext cx="5456300" cy="7350189"/>
          </a:xfrm>
          <a:custGeom>
            <a:avLst/>
            <a:gdLst>
              <a:gd name="connsiteX0" fmla="*/ 10912599 w 10912599"/>
              <a:gd name="connsiteY0" fmla="*/ 0 h 14702293"/>
              <a:gd name="connsiteX1" fmla="*/ 10912599 w 10912599"/>
              <a:gd name="connsiteY1" fmla="*/ 14702293 h 14702293"/>
              <a:gd name="connsiteX2" fmla="*/ 0 w 10912599"/>
              <a:gd name="connsiteY2" fmla="*/ 14702292 h 14702293"/>
              <a:gd name="connsiteX3" fmla="*/ 0 w 10912599"/>
              <a:gd name="connsiteY3" fmla="*/ 1 h 14702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12599" h="14702293">
                <a:moveTo>
                  <a:pt x="10912599" y="0"/>
                </a:moveTo>
                <a:lnTo>
                  <a:pt x="10912599" y="14702293"/>
                </a:lnTo>
                <a:lnTo>
                  <a:pt x="0" y="14702292"/>
                </a:lnTo>
                <a:lnTo>
                  <a:pt x="0" y="1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3163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4007A4B-E846-4041-B98F-32177C9A5EF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592833" y="3841994"/>
            <a:ext cx="6988114" cy="5161705"/>
          </a:xfrm>
          <a:custGeom>
            <a:avLst/>
            <a:gdLst>
              <a:gd name="connsiteX0" fmla="*/ 95034 w 12295188"/>
              <a:gd name="connsiteY0" fmla="*/ 0 h 7808913"/>
              <a:gd name="connsiteX1" fmla="*/ 12200154 w 12295188"/>
              <a:gd name="connsiteY1" fmla="*/ 0 h 7808913"/>
              <a:gd name="connsiteX2" fmla="*/ 12295188 w 12295188"/>
              <a:gd name="connsiteY2" fmla="*/ 95034 h 7808913"/>
              <a:gd name="connsiteX3" fmla="*/ 12295188 w 12295188"/>
              <a:gd name="connsiteY3" fmla="*/ 7713879 h 7808913"/>
              <a:gd name="connsiteX4" fmla="*/ 12200154 w 12295188"/>
              <a:gd name="connsiteY4" fmla="*/ 7808913 h 7808913"/>
              <a:gd name="connsiteX5" fmla="*/ 95034 w 12295188"/>
              <a:gd name="connsiteY5" fmla="*/ 7808913 h 7808913"/>
              <a:gd name="connsiteX6" fmla="*/ 0 w 12295188"/>
              <a:gd name="connsiteY6" fmla="*/ 7713879 h 7808913"/>
              <a:gd name="connsiteX7" fmla="*/ 0 w 12295188"/>
              <a:gd name="connsiteY7" fmla="*/ 95034 h 7808913"/>
              <a:gd name="connsiteX8" fmla="*/ 95034 w 12295188"/>
              <a:gd name="connsiteY8" fmla="*/ 0 h 7808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5188" h="7808913">
                <a:moveTo>
                  <a:pt x="95034" y="0"/>
                </a:moveTo>
                <a:lnTo>
                  <a:pt x="12200154" y="0"/>
                </a:lnTo>
                <a:cubicBezTo>
                  <a:pt x="12252640" y="0"/>
                  <a:pt x="12295188" y="42548"/>
                  <a:pt x="12295188" y="95034"/>
                </a:cubicBezTo>
                <a:lnTo>
                  <a:pt x="12295188" y="7713879"/>
                </a:lnTo>
                <a:cubicBezTo>
                  <a:pt x="12295188" y="7766365"/>
                  <a:pt x="12252640" y="7808913"/>
                  <a:pt x="12200154" y="7808913"/>
                </a:cubicBezTo>
                <a:lnTo>
                  <a:pt x="95034" y="7808913"/>
                </a:lnTo>
                <a:cubicBezTo>
                  <a:pt x="42548" y="7808913"/>
                  <a:pt x="0" y="7766365"/>
                  <a:pt x="0" y="7713879"/>
                </a:cubicBezTo>
                <a:lnTo>
                  <a:pt x="0" y="95034"/>
                </a:lnTo>
                <a:cubicBezTo>
                  <a:pt x="0" y="42548"/>
                  <a:pt x="42548" y="0"/>
                  <a:pt x="95034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860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9F916D3A-D31D-422A-A6C2-665376B1BA9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1742" y="0"/>
            <a:ext cx="5314259" cy="6858000"/>
          </a:xfrm>
          <a:custGeom>
            <a:avLst/>
            <a:gdLst>
              <a:gd name="connsiteX0" fmla="*/ 95034 w 12295188"/>
              <a:gd name="connsiteY0" fmla="*/ 0 h 7808913"/>
              <a:gd name="connsiteX1" fmla="*/ 12200154 w 12295188"/>
              <a:gd name="connsiteY1" fmla="*/ 0 h 7808913"/>
              <a:gd name="connsiteX2" fmla="*/ 12295188 w 12295188"/>
              <a:gd name="connsiteY2" fmla="*/ 95034 h 7808913"/>
              <a:gd name="connsiteX3" fmla="*/ 12295188 w 12295188"/>
              <a:gd name="connsiteY3" fmla="*/ 7713879 h 7808913"/>
              <a:gd name="connsiteX4" fmla="*/ 12200154 w 12295188"/>
              <a:gd name="connsiteY4" fmla="*/ 7808913 h 7808913"/>
              <a:gd name="connsiteX5" fmla="*/ 95034 w 12295188"/>
              <a:gd name="connsiteY5" fmla="*/ 7808913 h 7808913"/>
              <a:gd name="connsiteX6" fmla="*/ 0 w 12295188"/>
              <a:gd name="connsiteY6" fmla="*/ 7713879 h 7808913"/>
              <a:gd name="connsiteX7" fmla="*/ 0 w 12295188"/>
              <a:gd name="connsiteY7" fmla="*/ 95034 h 7808913"/>
              <a:gd name="connsiteX8" fmla="*/ 95034 w 12295188"/>
              <a:gd name="connsiteY8" fmla="*/ 0 h 7808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5188" h="7808913">
                <a:moveTo>
                  <a:pt x="95034" y="0"/>
                </a:moveTo>
                <a:lnTo>
                  <a:pt x="12200154" y="0"/>
                </a:lnTo>
                <a:cubicBezTo>
                  <a:pt x="12252640" y="0"/>
                  <a:pt x="12295188" y="42548"/>
                  <a:pt x="12295188" y="95034"/>
                </a:cubicBezTo>
                <a:lnTo>
                  <a:pt x="12295188" y="7713879"/>
                </a:lnTo>
                <a:cubicBezTo>
                  <a:pt x="12295188" y="7766365"/>
                  <a:pt x="12252640" y="7808913"/>
                  <a:pt x="12200154" y="7808913"/>
                </a:cubicBezTo>
                <a:lnTo>
                  <a:pt x="95034" y="7808913"/>
                </a:lnTo>
                <a:cubicBezTo>
                  <a:pt x="42548" y="7808913"/>
                  <a:pt x="0" y="7766365"/>
                  <a:pt x="0" y="7713879"/>
                </a:cubicBezTo>
                <a:lnTo>
                  <a:pt x="0" y="95034"/>
                </a:lnTo>
                <a:cubicBezTo>
                  <a:pt x="0" y="42548"/>
                  <a:pt x="42548" y="0"/>
                  <a:pt x="95034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602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3553382-31E9-4CA2-A874-9E5D59C5803D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058703" y="1219994"/>
            <a:ext cx="2060307" cy="4277519"/>
          </a:xfrm>
          <a:custGeom>
            <a:avLst/>
            <a:gdLst>
              <a:gd name="connsiteX0" fmla="*/ 494335 w 4121150"/>
              <a:gd name="connsiteY0" fmla="*/ 0 h 8555038"/>
              <a:gd name="connsiteX1" fmla="*/ 852652 w 4121150"/>
              <a:gd name="connsiteY1" fmla="*/ 0 h 8555038"/>
              <a:gd name="connsiteX2" fmla="*/ 925736 w 4121150"/>
              <a:gd name="connsiteY2" fmla="*/ 73874 h 8555038"/>
              <a:gd name="connsiteX3" fmla="*/ 1189652 w 4121150"/>
              <a:gd name="connsiteY3" fmla="*/ 340642 h 8555038"/>
              <a:gd name="connsiteX4" fmla="*/ 2929468 w 4121150"/>
              <a:gd name="connsiteY4" fmla="*/ 340642 h 8555038"/>
              <a:gd name="connsiteX5" fmla="*/ 3193384 w 4121150"/>
              <a:gd name="connsiteY5" fmla="*/ 73874 h 8555038"/>
              <a:gd name="connsiteX6" fmla="*/ 3266468 w 4121150"/>
              <a:gd name="connsiteY6" fmla="*/ 0 h 8555038"/>
              <a:gd name="connsiteX7" fmla="*/ 3625800 w 4121150"/>
              <a:gd name="connsiteY7" fmla="*/ 0 h 8555038"/>
              <a:gd name="connsiteX8" fmla="*/ 4121150 w 4121150"/>
              <a:gd name="connsiteY8" fmla="*/ 497625 h 8555038"/>
              <a:gd name="connsiteX9" fmla="*/ 4121150 w 4121150"/>
              <a:gd name="connsiteY9" fmla="*/ 8057414 h 8555038"/>
              <a:gd name="connsiteX10" fmla="*/ 3625800 w 4121150"/>
              <a:gd name="connsiteY10" fmla="*/ 8555038 h 8555038"/>
              <a:gd name="connsiteX11" fmla="*/ 494335 w 4121150"/>
              <a:gd name="connsiteY11" fmla="*/ 8555038 h 8555038"/>
              <a:gd name="connsiteX12" fmla="*/ 0 w 4121150"/>
              <a:gd name="connsiteY12" fmla="*/ 8055362 h 8555038"/>
              <a:gd name="connsiteX13" fmla="*/ 0 w 4121150"/>
              <a:gd name="connsiteY13" fmla="*/ 500703 h 8555038"/>
              <a:gd name="connsiteX14" fmla="*/ 494335 w 4121150"/>
              <a:gd name="connsiteY14" fmla="*/ 0 h 8555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121150" h="8555038">
                <a:moveTo>
                  <a:pt x="494335" y="0"/>
                </a:moveTo>
                <a:cubicBezTo>
                  <a:pt x="494335" y="0"/>
                  <a:pt x="494335" y="0"/>
                  <a:pt x="852652" y="0"/>
                </a:cubicBezTo>
                <a:cubicBezTo>
                  <a:pt x="893254" y="0"/>
                  <a:pt x="925736" y="33859"/>
                  <a:pt x="925736" y="73874"/>
                </a:cubicBezTo>
                <a:cubicBezTo>
                  <a:pt x="925736" y="221623"/>
                  <a:pt x="1043483" y="340642"/>
                  <a:pt x="1189652" y="340642"/>
                </a:cubicBezTo>
                <a:cubicBezTo>
                  <a:pt x="1189652" y="340642"/>
                  <a:pt x="1189652" y="340642"/>
                  <a:pt x="2929468" y="340642"/>
                </a:cubicBezTo>
                <a:cubicBezTo>
                  <a:pt x="3075636" y="340642"/>
                  <a:pt x="3193384" y="221623"/>
                  <a:pt x="3193384" y="73874"/>
                </a:cubicBezTo>
                <a:cubicBezTo>
                  <a:pt x="3193384" y="33859"/>
                  <a:pt x="3226881" y="0"/>
                  <a:pt x="3266468" y="0"/>
                </a:cubicBezTo>
                <a:cubicBezTo>
                  <a:pt x="3266468" y="0"/>
                  <a:pt x="3266468" y="0"/>
                  <a:pt x="3625800" y="0"/>
                </a:cubicBezTo>
                <a:cubicBezTo>
                  <a:pt x="3897836" y="0"/>
                  <a:pt x="4119120" y="222649"/>
                  <a:pt x="4121150" y="497625"/>
                </a:cubicBezTo>
                <a:cubicBezTo>
                  <a:pt x="4121150" y="497625"/>
                  <a:pt x="4121150" y="497625"/>
                  <a:pt x="4121150" y="8057414"/>
                </a:cubicBezTo>
                <a:cubicBezTo>
                  <a:pt x="4119120" y="8332390"/>
                  <a:pt x="3897836" y="8555038"/>
                  <a:pt x="3625800" y="8555038"/>
                </a:cubicBezTo>
                <a:cubicBezTo>
                  <a:pt x="3625800" y="8555038"/>
                  <a:pt x="3625800" y="8555038"/>
                  <a:pt x="494335" y="8555038"/>
                </a:cubicBezTo>
                <a:cubicBezTo>
                  <a:pt x="221283" y="8555038"/>
                  <a:pt x="0" y="8331364"/>
                  <a:pt x="0" y="8055362"/>
                </a:cubicBezTo>
                <a:cubicBezTo>
                  <a:pt x="0" y="8055362"/>
                  <a:pt x="0" y="8055362"/>
                  <a:pt x="0" y="500703"/>
                </a:cubicBezTo>
                <a:cubicBezTo>
                  <a:pt x="0" y="224700"/>
                  <a:pt x="221283" y="0"/>
                  <a:pt x="494335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382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C88DE0D-594F-4FB2-9C6A-9AA9D524F30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3069047" y="1910891"/>
            <a:ext cx="6261901" cy="3016888"/>
          </a:xfrm>
          <a:custGeom>
            <a:avLst/>
            <a:gdLst>
              <a:gd name="connsiteX0" fmla="*/ 731576 w 12525433"/>
              <a:gd name="connsiteY0" fmla="*/ 0 h 6033776"/>
              <a:gd name="connsiteX1" fmla="*/ 11792355 w 12525433"/>
              <a:gd name="connsiteY1" fmla="*/ 0 h 6033776"/>
              <a:gd name="connsiteX2" fmla="*/ 12525433 w 12525433"/>
              <a:gd name="connsiteY2" fmla="*/ 723756 h 6033776"/>
              <a:gd name="connsiteX3" fmla="*/ 12525433 w 12525433"/>
              <a:gd name="connsiteY3" fmla="*/ 1248369 h 6033776"/>
              <a:gd name="connsiteX4" fmla="*/ 12417275 w 12525433"/>
              <a:gd name="connsiteY4" fmla="*/ 1355371 h 6033776"/>
              <a:gd name="connsiteX5" fmla="*/ 12026699 w 12525433"/>
              <a:gd name="connsiteY5" fmla="*/ 1741770 h 6033776"/>
              <a:gd name="connsiteX6" fmla="*/ 12026699 w 12525433"/>
              <a:gd name="connsiteY6" fmla="*/ 4289035 h 6033776"/>
              <a:gd name="connsiteX7" fmla="*/ 12417275 w 12525433"/>
              <a:gd name="connsiteY7" fmla="*/ 4675434 h 6033776"/>
              <a:gd name="connsiteX8" fmla="*/ 12525433 w 12525433"/>
              <a:gd name="connsiteY8" fmla="*/ 4782436 h 6033776"/>
              <a:gd name="connsiteX9" fmla="*/ 12525433 w 12525433"/>
              <a:gd name="connsiteY9" fmla="*/ 5308534 h 6033776"/>
              <a:gd name="connsiteX10" fmla="*/ 11796861 w 12525433"/>
              <a:gd name="connsiteY10" fmla="*/ 6033776 h 6033776"/>
              <a:gd name="connsiteX11" fmla="*/ 728571 w 12525433"/>
              <a:gd name="connsiteY11" fmla="*/ 6033776 h 6033776"/>
              <a:gd name="connsiteX12" fmla="*/ 0 w 12525433"/>
              <a:gd name="connsiteY12" fmla="*/ 5308534 h 6033776"/>
              <a:gd name="connsiteX13" fmla="*/ 0 w 12525433"/>
              <a:gd name="connsiteY13" fmla="*/ 723756 h 6033776"/>
              <a:gd name="connsiteX14" fmla="*/ 731576 w 12525433"/>
              <a:gd name="connsiteY14" fmla="*/ 0 h 6033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525433" h="6033776">
                <a:moveTo>
                  <a:pt x="731576" y="0"/>
                </a:moveTo>
                <a:cubicBezTo>
                  <a:pt x="731576" y="0"/>
                  <a:pt x="731576" y="0"/>
                  <a:pt x="11792355" y="0"/>
                </a:cubicBezTo>
                <a:cubicBezTo>
                  <a:pt x="12196451" y="0"/>
                  <a:pt x="12525433" y="323981"/>
                  <a:pt x="12525433" y="723756"/>
                </a:cubicBezTo>
                <a:cubicBezTo>
                  <a:pt x="12525433" y="723756"/>
                  <a:pt x="12525433" y="723756"/>
                  <a:pt x="12525433" y="1248369"/>
                </a:cubicBezTo>
                <a:cubicBezTo>
                  <a:pt x="12525433" y="1307814"/>
                  <a:pt x="12475861" y="1355371"/>
                  <a:pt x="12417275" y="1355371"/>
                </a:cubicBezTo>
                <a:cubicBezTo>
                  <a:pt x="12200955" y="1355371"/>
                  <a:pt x="12026699" y="1527764"/>
                  <a:pt x="12026699" y="1741770"/>
                </a:cubicBezTo>
                <a:cubicBezTo>
                  <a:pt x="12026699" y="1741770"/>
                  <a:pt x="12026699" y="1741770"/>
                  <a:pt x="12026699" y="4289035"/>
                </a:cubicBezTo>
                <a:cubicBezTo>
                  <a:pt x="12026699" y="4503040"/>
                  <a:pt x="12200955" y="4675434"/>
                  <a:pt x="12417275" y="4675434"/>
                </a:cubicBezTo>
                <a:cubicBezTo>
                  <a:pt x="12475861" y="4675434"/>
                  <a:pt x="12525433" y="4724477"/>
                  <a:pt x="12525433" y="4782436"/>
                </a:cubicBezTo>
                <a:cubicBezTo>
                  <a:pt x="12525433" y="4782436"/>
                  <a:pt x="12525433" y="4782436"/>
                  <a:pt x="12525433" y="5308534"/>
                </a:cubicBezTo>
                <a:cubicBezTo>
                  <a:pt x="12525433" y="5706822"/>
                  <a:pt x="12199453" y="6030804"/>
                  <a:pt x="11796861" y="6033776"/>
                </a:cubicBezTo>
                <a:cubicBezTo>
                  <a:pt x="11796861" y="6033776"/>
                  <a:pt x="11796861" y="6033776"/>
                  <a:pt x="728571" y="6033776"/>
                </a:cubicBezTo>
                <a:cubicBezTo>
                  <a:pt x="325979" y="6030804"/>
                  <a:pt x="0" y="5706822"/>
                  <a:pt x="0" y="5308534"/>
                </a:cubicBezTo>
                <a:cubicBezTo>
                  <a:pt x="0" y="5308534"/>
                  <a:pt x="0" y="5308534"/>
                  <a:pt x="0" y="723756"/>
                </a:cubicBezTo>
                <a:cubicBezTo>
                  <a:pt x="0" y="323981"/>
                  <a:pt x="327481" y="0"/>
                  <a:pt x="731576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0521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01FAD4B-9998-4B20-903F-710F07EA384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-620171" y="1350566"/>
            <a:ext cx="6146794" cy="3904457"/>
          </a:xfrm>
          <a:custGeom>
            <a:avLst/>
            <a:gdLst>
              <a:gd name="connsiteX0" fmla="*/ 95034 w 12295188"/>
              <a:gd name="connsiteY0" fmla="*/ 0 h 7808913"/>
              <a:gd name="connsiteX1" fmla="*/ 12200154 w 12295188"/>
              <a:gd name="connsiteY1" fmla="*/ 0 h 7808913"/>
              <a:gd name="connsiteX2" fmla="*/ 12295188 w 12295188"/>
              <a:gd name="connsiteY2" fmla="*/ 95034 h 7808913"/>
              <a:gd name="connsiteX3" fmla="*/ 12295188 w 12295188"/>
              <a:gd name="connsiteY3" fmla="*/ 7713879 h 7808913"/>
              <a:gd name="connsiteX4" fmla="*/ 12200154 w 12295188"/>
              <a:gd name="connsiteY4" fmla="*/ 7808913 h 7808913"/>
              <a:gd name="connsiteX5" fmla="*/ 95034 w 12295188"/>
              <a:gd name="connsiteY5" fmla="*/ 7808913 h 7808913"/>
              <a:gd name="connsiteX6" fmla="*/ 0 w 12295188"/>
              <a:gd name="connsiteY6" fmla="*/ 7713879 h 7808913"/>
              <a:gd name="connsiteX7" fmla="*/ 0 w 12295188"/>
              <a:gd name="connsiteY7" fmla="*/ 95034 h 7808913"/>
              <a:gd name="connsiteX8" fmla="*/ 95034 w 12295188"/>
              <a:gd name="connsiteY8" fmla="*/ 0 h 7808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5188" h="7808913">
                <a:moveTo>
                  <a:pt x="95034" y="0"/>
                </a:moveTo>
                <a:lnTo>
                  <a:pt x="12200154" y="0"/>
                </a:lnTo>
                <a:cubicBezTo>
                  <a:pt x="12252640" y="0"/>
                  <a:pt x="12295188" y="42548"/>
                  <a:pt x="12295188" y="95034"/>
                </a:cubicBezTo>
                <a:lnTo>
                  <a:pt x="12295188" y="7713879"/>
                </a:lnTo>
                <a:cubicBezTo>
                  <a:pt x="12295188" y="7766365"/>
                  <a:pt x="12252640" y="7808913"/>
                  <a:pt x="12200154" y="7808913"/>
                </a:cubicBezTo>
                <a:lnTo>
                  <a:pt x="95034" y="7808913"/>
                </a:lnTo>
                <a:cubicBezTo>
                  <a:pt x="42548" y="7808913"/>
                  <a:pt x="0" y="7766365"/>
                  <a:pt x="0" y="7713879"/>
                </a:cubicBezTo>
                <a:lnTo>
                  <a:pt x="0" y="95034"/>
                </a:lnTo>
                <a:cubicBezTo>
                  <a:pt x="0" y="42548"/>
                  <a:pt x="42548" y="0"/>
                  <a:pt x="95034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062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FEA30-A00E-0749-AA2A-6B2F28F0B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BCF9BB-1F30-6E4D-B252-623F91C999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600EB8-0F21-0C4E-9C4F-31A31AC7B3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4AF2E2-D298-2D4A-B1CA-537DB743C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6C4DB1-48C4-AE42-B93B-8D8DFB5AF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F582E0-236A-1F4D-8C89-E4A697CD6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835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4A08130-B068-46E2-BA14-A39156E6308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2117116" y="4630366"/>
            <a:ext cx="1750751" cy="1303506"/>
          </a:xfrm>
          <a:custGeom>
            <a:avLst/>
            <a:gdLst>
              <a:gd name="connsiteX0" fmla="*/ 162130 w 3501958"/>
              <a:gd name="connsiteY0" fmla="*/ 0 h 2607012"/>
              <a:gd name="connsiteX1" fmla="*/ 3339828 w 3501958"/>
              <a:gd name="connsiteY1" fmla="*/ 0 h 2607012"/>
              <a:gd name="connsiteX2" fmla="*/ 3501958 w 3501958"/>
              <a:gd name="connsiteY2" fmla="*/ 162130 h 2607012"/>
              <a:gd name="connsiteX3" fmla="*/ 3501958 w 3501958"/>
              <a:gd name="connsiteY3" fmla="*/ 2444882 h 2607012"/>
              <a:gd name="connsiteX4" fmla="*/ 3339828 w 3501958"/>
              <a:gd name="connsiteY4" fmla="*/ 2607012 h 2607012"/>
              <a:gd name="connsiteX5" fmla="*/ 162130 w 3501958"/>
              <a:gd name="connsiteY5" fmla="*/ 2607012 h 2607012"/>
              <a:gd name="connsiteX6" fmla="*/ 0 w 3501958"/>
              <a:gd name="connsiteY6" fmla="*/ 2444882 h 2607012"/>
              <a:gd name="connsiteX7" fmla="*/ 0 w 3501958"/>
              <a:gd name="connsiteY7" fmla="*/ 162130 h 2607012"/>
              <a:gd name="connsiteX8" fmla="*/ 162130 w 3501958"/>
              <a:gd name="connsiteY8" fmla="*/ 0 h 26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01958" h="2607012">
                <a:moveTo>
                  <a:pt x="162130" y="0"/>
                </a:moveTo>
                <a:lnTo>
                  <a:pt x="3339828" y="0"/>
                </a:lnTo>
                <a:cubicBezTo>
                  <a:pt x="3429370" y="0"/>
                  <a:pt x="3501958" y="72588"/>
                  <a:pt x="3501958" y="162130"/>
                </a:cubicBezTo>
                <a:lnTo>
                  <a:pt x="3501958" y="2444882"/>
                </a:lnTo>
                <a:cubicBezTo>
                  <a:pt x="3501958" y="2534424"/>
                  <a:pt x="3429370" y="2607012"/>
                  <a:pt x="3339828" y="2607012"/>
                </a:cubicBezTo>
                <a:lnTo>
                  <a:pt x="162130" y="2607012"/>
                </a:lnTo>
                <a:cubicBezTo>
                  <a:pt x="72588" y="2607012"/>
                  <a:pt x="0" y="2534424"/>
                  <a:pt x="0" y="2444882"/>
                </a:cubicBezTo>
                <a:lnTo>
                  <a:pt x="0" y="162130"/>
                </a:lnTo>
                <a:cubicBezTo>
                  <a:pt x="0" y="72588"/>
                  <a:pt x="72588" y="0"/>
                  <a:pt x="16213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41B87C0-CD1A-4250-A302-570CC5A1A25C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186121" y="4630366"/>
            <a:ext cx="1750751" cy="1303506"/>
          </a:xfrm>
          <a:custGeom>
            <a:avLst/>
            <a:gdLst>
              <a:gd name="connsiteX0" fmla="*/ 162130 w 3501958"/>
              <a:gd name="connsiteY0" fmla="*/ 0 h 2607012"/>
              <a:gd name="connsiteX1" fmla="*/ 3339828 w 3501958"/>
              <a:gd name="connsiteY1" fmla="*/ 0 h 2607012"/>
              <a:gd name="connsiteX2" fmla="*/ 3501958 w 3501958"/>
              <a:gd name="connsiteY2" fmla="*/ 162130 h 2607012"/>
              <a:gd name="connsiteX3" fmla="*/ 3501958 w 3501958"/>
              <a:gd name="connsiteY3" fmla="*/ 2444882 h 2607012"/>
              <a:gd name="connsiteX4" fmla="*/ 3339828 w 3501958"/>
              <a:gd name="connsiteY4" fmla="*/ 2607012 h 2607012"/>
              <a:gd name="connsiteX5" fmla="*/ 162130 w 3501958"/>
              <a:gd name="connsiteY5" fmla="*/ 2607012 h 2607012"/>
              <a:gd name="connsiteX6" fmla="*/ 0 w 3501958"/>
              <a:gd name="connsiteY6" fmla="*/ 2444882 h 2607012"/>
              <a:gd name="connsiteX7" fmla="*/ 0 w 3501958"/>
              <a:gd name="connsiteY7" fmla="*/ 162130 h 2607012"/>
              <a:gd name="connsiteX8" fmla="*/ 162130 w 3501958"/>
              <a:gd name="connsiteY8" fmla="*/ 0 h 26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01958" h="2607012">
                <a:moveTo>
                  <a:pt x="162130" y="0"/>
                </a:moveTo>
                <a:lnTo>
                  <a:pt x="3339828" y="0"/>
                </a:lnTo>
                <a:cubicBezTo>
                  <a:pt x="3429370" y="0"/>
                  <a:pt x="3501958" y="72588"/>
                  <a:pt x="3501958" y="162130"/>
                </a:cubicBezTo>
                <a:lnTo>
                  <a:pt x="3501958" y="2444882"/>
                </a:lnTo>
                <a:cubicBezTo>
                  <a:pt x="3501958" y="2534424"/>
                  <a:pt x="3429370" y="2607012"/>
                  <a:pt x="3339828" y="2607012"/>
                </a:cubicBezTo>
                <a:lnTo>
                  <a:pt x="162130" y="2607012"/>
                </a:lnTo>
                <a:cubicBezTo>
                  <a:pt x="72588" y="2607012"/>
                  <a:pt x="0" y="2534424"/>
                  <a:pt x="0" y="2444882"/>
                </a:cubicBezTo>
                <a:lnTo>
                  <a:pt x="0" y="162130"/>
                </a:lnTo>
                <a:cubicBezTo>
                  <a:pt x="0" y="72588"/>
                  <a:pt x="72588" y="0"/>
                  <a:pt x="16213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8DE9A9-54BB-4ACB-9396-10ED9E0C7B6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255127" y="4630366"/>
            <a:ext cx="1750751" cy="1303506"/>
          </a:xfrm>
          <a:custGeom>
            <a:avLst/>
            <a:gdLst>
              <a:gd name="connsiteX0" fmla="*/ 162130 w 3501958"/>
              <a:gd name="connsiteY0" fmla="*/ 0 h 2607012"/>
              <a:gd name="connsiteX1" fmla="*/ 3339828 w 3501958"/>
              <a:gd name="connsiteY1" fmla="*/ 0 h 2607012"/>
              <a:gd name="connsiteX2" fmla="*/ 3501958 w 3501958"/>
              <a:gd name="connsiteY2" fmla="*/ 162130 h 2607012"/>
              <a:gd name="connsiteX3" fmla="*/ 3501958 w 3501958"/>
              <a:gd name="connsiteY3" fmla="*/ 2444882 h 2607012"/>
              <a:gd name="connsiteX4" fmla="*/ 3339828 w 3501958"/>
              <a:gd name="connsiteY4" fmla="*/ 2607012 h 2607012"/>
              <a:gd name="connsiteX5" fmla="*/ 162130 w 3501958"/>
              <a:gd name="connsiteY5" fmla="*/ 2607012 h 2607012"/>
              <a:gd name="connsiteX6" fmla="*/ 0 w 3501958"/>
              <a:gd name="connsiteY6" fmla="*/ 2444882 h 2607012"/>
              <a:gd name="connsiteX7" fmla="*/ 0 w 3501958"/>
              <a:gd name="connsiteY7" fmla="*/ 162130 h 2607012"/>
              <a:gd name="connsiteX8" fmla="*/ 162130 w 3501958"/>
              <a:gd name="connsiteY8" fmla="*/ 0 h 26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01958" h="2607012">
                <a:moveTo>
                  <a:pt x="162130" y="0"/>
                </a:moveTo>
                <a:lnTo>
                  <a:pt x="3339828" y="0"/>
                </a:lnTo>
                <a:cubicBezTo>
                  <a:pt x="3429370" y="0"/>
                  <a:pt x="3501958" y="72588"/>
                  <a:pt x="3501958" y="162130"/>
                </a:cubicBezTo>
                <a:lnTo>
                  <a:pt x="3501958" y="2444882"/>
                </a:lnTo>
                <a:cubicBezTo>
                  <a:pt x="3501958" y="2534424"/>
                  <a:pt x="3429370" y="2607012"/>
                  <a:pt x="3339828" y="2607012"/>
                </a:cubicBezTo>
                <a:lnTo>
                  <a:pt x="162130" y="2607012"/>
                </a:lnTo>
                <a:cubicBezTo>
                  <a:pt x="72588" y="2607012"/>
                  <a:pt x="0" y="2534424"/>
                  <a:pt x="0" y="2444882"/>
                </a:cubicBezTo>
                <a:lnTo>
                  <a:pt x="0" y="162130"/>
                </a:lnTo>
                <a:cubicBezTo>
                  <a:pt x="0" y="72588"/>
                  <a:pt x="72588" y="0"/>
                  <a:pt x="16213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1F19E9A-1855-474C-8384-9C4B1C520FB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324133" y="4630366"/>
            <a:ext cx="1750752" cy="1303506"/>
          </a:xfrm>
          <a:custGeom>
            <a:avLst/>
            <a:gdLst>
              <a:gd name="connsiteX0" fmla="*/ 162131 w 3501959"/>
              <a:gd name="connsiteY0" fmla="*/ 0 h 2607012"/>
              <a:gd name="connsiteX1" fmla="*/ 3339827 w 3501959"/>
              <a:gd name="connsiteY1" fmla="*/ 0 h 2607012"/>
              <a:gd name="connsiteX2" fmla="*/ 3501959 w 3501959"/>
              <a:gd name="connsiteY2" fmla="*/ 162130 h 2607012"/>
              <a:gd name="connsiteX3" fmla="*/ 3501959 w 3501959"/>
              <a:gd name="connsiteY3" fmla="*/ 2444882 h 2607012"/>
              <a:gd name="connsiteX4" fmla="*/ 3339827 w 3501959"/>
              <a:gd name="connsiteY4" fmla="*/ 2607012 h 2607012"/>
              <a:gd name="connsiteX5" fmla="*/ 162131 w 3501959"/>
              <a:gd name="connsiteY5" fmla="*/ 2607012 h 2607012"/>
              <a:gd name="connsiteX6" fmla="*/ 0 w 3501959"/>
              <a:gd name="connsiteY6" fmla="*/ 2444882 h 2607012"/>
              <a:gd name="connsiteX7" fmla="*/ 0 w 3501959"/>
              <a:gd name="connsiteY7" fmla="*/ 162130 h 2607012"/>
              <a:gd name="connsiteX8" fmla="*/ 162131 w 3501959"/>
              <a:gd name="connsiteY8" fmla="*/ 0 h 26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01959" h="2607012">
                <a:moveTo>
                  <a:pt x="162131" y="0"/>
                </a:moveTo>
                <a:lnTo>
                  <a:pt x="3339827" y="0"/>
                </a:lnTo>
                <a:cubicBezTo>
                  <a:pt x="3429371" y="0"/>
                  <a:pt x="3501959" y="72588"/>
                  <a:pt x="3501959" y="162130"/>
                </a:cubicBezTo>
                <a:lnTo>
                  <a:pt x="3501959" y="2444882"/>
                </a:lnTo>
                <a:cubicBezTo>
                  <a:pt x="3501959" y="2534424"/>
                  <a:pt x="3429371" y="2607012"/>
                  <a:pt x="3339827" y="2607012"/>
                </a:cubicBezTo>
                <a:lnTo>
                  <a:pt x="162131" y="2607012"/>
                </a:lnTo>
                <a:cubicBezTo>
                  <a:pt x="72588" y="2607012"/>
                  <a:pt x="0" y="2534424"/>
                  <a:pt x="0" y="2444882"/>
                </a:cubicBezTo>
                <a:lnTo>
                  <a:pt x="0" y="162130"/>
                </a:lnTo>
                <a:cubicBezTo>
                  <a:pt x="0" y="72588"/>
                  <a:pt x="72588" y="0"/>
                  <a:pt x="162131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63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20000" decel="8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20000" decel="8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20000" decel="8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20000" decel="8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9F5F558-6740-4B2B-9995-6724699E072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1742" y="-1"/>
            <a:ext cx="10609469" cy="6858001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407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6AE8812-B0BB-4D98-AA9C-35BDA1CAED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162693" y="517117"/>
            <a:ext cx="9866615" cy="6393550"/>
          </a:xfrm>
          <a:custGeom>
            <a:avLst/>
            <a:gdLst>
              <a:gd name="connsiteX0" fmla="*/ 12143513 w 19735799"/>
              <a:gd name="connsiteY0" fmla="*/ 9240409 h 12787099"/>
              <a:gd name="connsiteX1" fmla="*/ 15685269 w 19735799"/>
              <a:gd name="connsiteY1" fmla="*/ 9240409 h 12787099"/>
              <a:gd name="connsiteX2" fmla="*/ 15685269 w 19735799"/>
              <a:gd name="connsiteY2" fmla="*/ 12787099 h 12787099"/>
              <a:gd name="connsiteX3" fmla="*/ 12143513 w 19735799"/>
              <a:gd name="connsiteY3" fmla="*/ 12787099 h 12787099"/>
              <a:gd name="connsiteX4" fmla="*/ 4050531 w 19735799"/>
              <a:gd name="connsiteY4" fmla="*/ 9240409 h 12787099"/>
              <a:gd name="connsiteX5" fmla="*/ 7592284 w 19735799"/>
              <a:gd name="connsiteY5" fmla="*/ 9240409 h 12787099"/>
              <a:gd name="connsiteX6" fmla="*/ 7592284 w 19735799"/>
              <a:gd name="connsiteY6" fmla="*/ 12787099 h 12787099"/>
              <a:gd name="connsiteX7" fmla="*/ 4050531 w 19735799"/>
              <a:gd name="connsiteY7" fmla="*/ 12787099 h 12787099"/>
              <a:gd name="connsiteX8" fmla="*/ 16194043 w 19735799"/>
              <a:gd name="connsiteY8" fmla="*/ 8110925 h 12787099"/>
              <a:gd name="connsiteX9" fmla="*/ 19735799 w 19735799"/>
              <a:gd name="connsiteY9" fmla="*/ 8110925 h 12787099"/>
              <a:gd name="connsiteX10" fmla="*/ 19735799 w 19735799"/>
              <a:gd name="connsiteY10" fmla="*/ 11657615 h 12787099"/>
              <a:gd name="connsiteX11" fmla="*/ 16194043 w 19735799"/>
              <a:gd name="connsiteY11" fmla="*/ 11657615 h 12787099"/>
              <a:gd name="connsiteX12" fmla="*/ 8092984 w 19735799"/>
              <a:gd name="connsiteY12" fmla="*/ 8110925 h 12787099"/>
              <a:gd name="connsiteX13" fmla="*/ 11634740 w 19735799"/>
              <a:gd name="connsiteY13" fmla="*/ 8110925 h 12787099"/>
              <a:gd name="connsiteX14" fmla="*/ 11634740 w 19735799"/>
              <a:gd name="connsiteY14" fmla="*/ 11657615 h 12787099"/>
              <a:gd name="connsiteX15" fmla="*/ 8092984 w 19735799"/>
              <a:gd name="connsiteY15" fmla="*/ 11657615 h 12787099"/>
              <a:gd name="connsiteX16" fmla="*/ 0 w 19735799"/>
              <a:gd name="connsiteY16" fmla="*/ 8110925 h 12787099"/>
              <a:gd name="connsiteX17" fmla="*/ 3541757 w 19735799"/>
              <a:gd name="connsiteY17" fmla="*/ 8110925 h 12787099"/>
              <a:gd name="connsiteX18" fmla="*/ 3541757 w 19735799"/>
              <a:gd name="connsiteY18" fmla="*/ 11657615 h 12787099"/>
              <a:gd name="connsiteX19" fmla="*/ 0 w 19735799"/>
              <a:gd name="connsiteY19" fmla="*/ 11657615 h 12787099"/>
              <a:gd name="connsiteX20" fmla="*/ 12143513 w 19735799"/>
              <a:gd name="connsiteY20" fmla="*/ 5184948 h 12787099"/>
              <a:gd name="connsiteX21" fmla="*/ 15685269 w 19735799"/>
              <a:gd name="connsiteY21" fmla="*/ 5184948 h 12787099"/>
              <a:gd name="connsiteX22" fmla="*/ 15685269 w 19735799"/>
              <a:gd name="connsiteY22" fmla="*/ 8731636 h 12787099"/>
              <a:gd name="connsiteX23" fmla="*/ 12143513 w 19735799"/>
              <a:gd name="connsiteY23" fmla="*/ 8731636 h 12787099"/>
              <a:gd name="connsiteX24" fmla="*/ 4050531 w 19735799"/>
              <a:gd name="connsiteY24" fmla="*/ 5184948 h 12787099"/>
              <a:gd name="connsiteX25" fmla="*/ 7592284 w 19735799"/>
              <a:gd name="connsiteY25" fmla="*/ 5184948 h 12787099"/>
              <a:gd name="connsiteX26" fmla="*/ 7592284 w 19735799"/>
              <a:gd name="connsiteY26" fmla="*/ 8731636 h 12787099"/>
              <a:gd name="connsiteX27" fmla="*/ 4050531 w 19735799"/>
              <a:gd name="connsiteY27" fmla="*/ 8731636 h 12787099"/>
              <a:gd name="connsiteX28" fmla="*/ 16194043 w 19735799"/>
              <a:gd name="connsiteY28" fmla="*/ 4055463 h 12787099"/>
              <a:gd name="connsiteX29" fmla="*/ 19735799 w 19735799"/>
              <a:gd name="connsiteY29" fmla="*/ 4055463 h 12787099"/>
              <a:gd name="connsiteX30" fmla="*/ 19735799 w 19735799"/>
              <a:gd name="connsiteY30" fmla="*/ 7602152 h 12787099"/>
              <a:gd name="connsiteX31" fmla="*/ 16194043 w 19735799"/>
              <a:gd name="connsiteY31" fmla="*/ 7602152 h 12787099"/>
              <a:gd name="connsiteX32" fmla="*/ 1 w 19735799"/>
              <a:gd name="connsiteY32" fmla="*/ 4055463 h 12787099"/>
              <a:gd name="connsiteX33" fmla="*/ 3541757 w 19735799"/>
              <a:gd name="connsiteY33" fmla="*/ 4055463 h 12787099"/>
              <a:gd name="connsiteX34" fmla="*/ 3541757 w 19735799"/>
              <a:gd name="connsiteY34" fmla="*/ 7602152 h 12787099"/>
              <a:gd name="connsiteX35" fmla="*/ 1 w 19735799"/>
              <a:gd name="connsiteY35" fmla="*/ 7602152 h 12787099"/>
              <a:gd name="connsiteX36" fmla="*/ 12143513 w 19735799"/>
              <a:gd name="connsiteY36" fmla="*/ 1129485 h 12787099"/>
              <a:gd name="connsiteX37" fmla="*/ 15685269 w 19735799"/>
              <a:gd name="connsiteY37" fmla="*/ 1129485 h 12787099"/>
              <a:gd name="connsiteX38" fmla="*/ 15685269 w 19735799"/>
              <a:gd name="connsiteY38" fmla="*/ 4676174 h 12787099"/>
              <a:gd name="connsiteX39" fmla="*/ 12143513 w 19735799"/>
              <a:gd name="connsiteY39" fmla="*/ 4676174 h 12787099"/>
              <a:gd name="connsiteX40" fmla="*/ 4050534 w 19735799"/>
              <a:gd name="connsiteY40" fmla="*/ 1129485 h 12787099"/>
              <a:gd name="connsiteX41" fmla="*/ 7592284 w 19735799"/>
              <a:gd name="connsiteY41" fmla="*/ 1129485 h 12787099"/>
              <a:gd name="connsiteX42" fmla="*/ 7592284 w 19735799"/>
              <a:gd name="connsiteY42" fmla="*/ 4676174 h 12787099"/>
              <a:gd name="connsiteX43" fmla="*/ 4050534 w 19735799"/>
              <a:gd name="connsiteY43" fmla="*/ 4676174 h 12787099"/>
              <a:gd name="connsiteX44" fmla="*/ 8092984 w 19735799"/>
              <a:gd name="connsiteY44" fmla="*/ 1 h 12787099"/>
              <a:gd name="connsiteX45" fmla="*/ 11634740 w 19735799"/>
              <a:gd name="connsiteY45" fmla="*/ 1 h 12787099"/>
              <a:gd name="connsiteX46" fmla="*/ 11634740 w 19735799"/>
              <a:gd name="connsiteY46" fmla="*/ 3546690 h 12787099"/>
              <a:gd name="connsiteX47" fmla="*/ 8092984 w 19735799"/>
              <a:gd name="connsiteY47" fmla="*/ 3546690 h 12787099"/>
              <a:gd name="connsiteX48" fmla="*/ 2 w 19735799"/>
              <a:gd name="connsiteY48" fmla="*/ 1 h 12787099"/>
              <a:gd name="connsiteX49" fmla="*/ 3541760 w 19735799"/>
              <a:gd name="connsiteY49" fmla="*/ 1 h 12787099"/>
              <a:gd name="connsiteX50" fmla="*/ 3541760 w 19735799"/>
              <a:gd name="connsiteY50" fmla="*/ 3546690 h 12787099"/>
              <a:gd name="connsiteX51" fmla="*/ 2 w 19735799"/>
              <a:gd name="connsiteY51" fmla="*/ 3546690 h 12787099"/>
              <a:gd name="connsiteX52" fmla="*/ 16194043 w 19735799"/>
              <a:gd name="connsiteY52" fmla="*/ 0 h 12787099"/>
              <a:gd name="connsiteX53" fmla="*/ 19735799 w 19735799"/>
              <a:gd name="connsiteY53" fmla="*/ 0 h 12787099"/>
              <a:gd name="connsiteX54" fmla="*/ 19735799 w 19735799"/>
              <a:gd name="connsiteY54" fmla="*/ 3546690 h 12787099"/>
              <a:gd name="connsiteX55" fmla="*/ 16194043 w 19735799"/>
              <a:gd name="connsiteY55" fmla="*/ 3546690 h 12787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9735799" h="12787099">
                <a:moveTo>
                  <a:pt x="12143513" y="9240409"/>
                </a:moveTo>
                <a:lnTo>
                  <a:pt x="15685269" y="9240409"/>
                </a:lnTo>
                <a:lnTo>
                  <a:pt x="15685269" y="12787099"/>
                </a:lnTo>
                <a:lnTo>
                  <a:pt x="12143513" y="12787099"/>
                </a:lnTo>
                <a:close/>
                <a:moveTo>
                  <a:pt x="4050531" y="9240409"/>
                </a:moveTo>
                <a:lnTo>
                  <a:pt x="7592284" y="9240409"/>
                </a:lnTo>
                <a:lnTo>
                  <a:pt x="7592284" y="12787099"/>
                </a:lnTo>
                <a:lnTo>
                  <a:pt x="4050531" y="12787099"/>
                </a:lnTo>
                <a:close/>
                <a:moveTo>
                  <a:pt x="16194043" y="8110925"/>
                </a:moveTo>
                <a:lnTo>
                  <a:pt x="19735799" y="8110925"/>
                </a:lnTo>
                <a:lnTo>
                  <a:pt x="19735799" y="11657615"/>
                </a:lnTo>
                <a:lnTo>
                  <a:pt x="16194043" y="11657615"/>
                </a:lnTo>
                <a:close/>
                <a:moveTo>
                  <a:pt x="8092984" y="8110925"/>
                </a:moveTo>
                <a:lnTo>
                  <a:pt x="11634740" y="8110925"/>
                </a:lnTo>
                <a:lnTo>
                  <a:pt x="11634740" y="11657615"/>
                </a:lnTo>
                <a:lnTo>
                  <a:pt x="8092984" y="11657615"/>
                </a:lnTo>
                <a:close/>
                <a:moveTo>
                  <a:pt x="0" y="8110925"/>
                </a:moveTo>
                <a:lnTo>
                  <a:pt x="3541757" y="8110925"/>
                </a:lnTo>
                <a:lnTo>
                  <a:pt x="3541757" y="11657615"/>
                </a:lnTo>
                <a:lnTo>
                  <a:pt x="0" y="11657615"/>
                </a:lnTo>
                <a:close/>
                <a:moveTo>
                  <a:pt x="12143513" y="5184948"/>
                </a:moveTo>
                <a:lnTo>
                  <a:pt x="15685269" y="5184948"/>
                </a:lnTo>
                <a:lnTo>
                  <a:pt x="15685269" y="8731636"/>
                </a:lnTo>
                <a:lnTo>
                  <a:pt x="12143513" y="8731636"/>
                </a:lnTo>
                <a:close/>
                <a:moveTo>
                  <a:pt x="4050531" y="5184948"/>
                </a:moveTo>
                <a:lnTo>
                  <a:pt x="7592284" y="5184948"/>
                </a:lnTo>
                <a:lnTo>
                  <a:pt x="7592284" y="8731636"/>
                </a:lnTo>
                <a:lnTo>
                  <a:pt x="4050531" y="8731636"/>
                </a:lnTo>
                <a:close/>
                <a:moveTo>
                  <a:pt x="16194043" y="4055463"/>
                </a:moveTo>
                <a:lnTo>
                  <a:pt x="19735799" y="4055463"/>
                </a:lnTo>
                <a:lnTo>
                  <a:pt x="19735799" y="7602152"/>
                </a:lnTo>
                <a:lnTo>
                  <a:pt x="16194043" y="7602152"/>
                </a:lnTo>
                <a:close/>
                <a:moveTo>
                  <a:pt x="1" y="4055463"/>
                </a:moveTo>
                <a:lnTo>
                  <a:pt x="3541757" y="4055463"/>
                </a:lnTo>
                <a:lnTo>
                  <a:pt x="3541757" y="7602152"/>
                </a:lnTo>
                <a:lnTo>
                  <a:pt x="1" y="7602152"/>
                </a:lnTo>
                <a:close/>
                <a:moveTo>
                  <a:pt x="12143513" y="1129485"/>
                </a:moveTo>
                <a:lnTo>
                  <a:pt x="15685269" y="1129485"/>
                </a:lnTo>
                <a:lnTo>
                  <a:pt x="15685269" y="4676174"/>
                </a:lnTo>
                <a:lnTo>
                  <a:pt x="12143513" y="4676174"/>
                </a:lnTo>
                <a:close/>
                <a:moveTo>
                  <a:pt x="4050534" y="1129485"/>
                </a:moveTo>
                <a:lnTo>
                  <a:pt x="7592284" y="1129485"/>
                </a:lnTo>
                <a:lnTo>
                  <a:pt x="7592284" y="4676174"/>
                </a:lnTo>
                <a:lnTo>
                  <a:pt x="4050534" y="4676174"/>
                </a:lnTo>
                <a:close/>
                <a:moveTo>
                  <a:pt x="8092984" y="1"/>
                </a:moveTo>
                <a:lnTo>
                  <a:pt x="11634740" y="1"/>
                </a:lnTo>
                <a:lnTo>
                  <a:pt x="11634740" y="3546690"/>
                </a:lnTo>
                <a:lnTo>
                  <a:pt x="8092984" y="3546690"/>
                </a:lnTo>
                <a:close/>
                <a:moveTo>
                  <a:pt x="2" y="1"/>
                </a:moveTo>
                <a:lnTo>
                  <a:pt x="3541760" y="1"/>
                </a:lnTo>
                <a:lnTo>
                  <a:pt x="3541760" y="3546690"/>
                </a:lnTo>
                <a:lnTo>
                  <a:pt x="2" y="3546690"/>
                </a:lnTo>
                <a:close/>
                <a:moveTo>
                  <a:pt x="16194043" y="0"/>
                </a:moveTo>
                <a:lnTo>
                  <a:pt x="19735799" y="0"/>
                </a:lnTo>
                <a:lnTo>
                  <a:pt x="19735799" y="3546690"/>
                </a:lnTo>
                <a:lnTo>
                  <a:pt x="16194043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576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C48B04-C9CC-4B96-8152-DAB8C3953C12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721870" y="2546243"/>
            <a:ext cx="1770647" cy="1773345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E60A2A3-8CBF-4BB3-B71C-4B7F0A2E187C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3963815" y="2546243"/>
            <a:ext cx="1770647" cy="1773345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DC59C30-B43F-43CF-9F82-D69DFCBBC31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699482" y="2546243"/>
            <a:ext cx="1770647" cy="1773345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111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C48B04-C9CC-4B96-8152-DAB8C3953C12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975672" y="536468"/>
            <a:ext cx="1770647" cy="1773345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E60A2A3-8CBF-4BB3-B71C-4B7F0A2E187C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975672" y="2546243"/>
            <a:ext cx="1770647" cy="1773345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DC59C30-B43F-43CF-9F82-D69DFCBBC31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975672" y="4556018"/>
            <a:ext cx="1770647" cy="1773345"/>
          </a:xfrm>
          <a:custGeom>
            <a:avLst/>
            <a:gdLst>
              <a:gd name="connsiteX0" fmla="*/ 0 w 3541756"/>
              <a:gd name="connsiteY0" fmla="*/ 0 h 3546690"/>
              <a:gd name="connsiteX1" fmla="*/ 3541756 w 3541756"/>
              <a:gd name="connsiteY1" fmla="*/ 0 h 3546690"/>
              <a:gd name="connsiteX2" fmla="*/ 3541756 w 3541756"/>
              <a:gd name="connsiteY2" fmla="*/ 3546690 h 3546690"/>
              <a:gd name="connsiteX3" fmla="*/ 0 w 3541756"/>
              <a:gd name="connsiteY3" fmla="*/ 3546690 h 35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1756" h="3546690">
                <a:moveTo>
                  <a:pt x="0" y="0"/>
                </a:moveTo>
                <a:lnTo>
                  <a:pt x="3541756" y="0"/>
                </a:lnTo>
                <a:lnTo>
                  <a:pt x="3541756" y="3546690"/>
                </a:lnTo>
                <a:lnTo>
                  <a:pt x="0" y="354669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085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9CA30AC-465D-411F-829F-4744F4D8AE25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373594" y="1072662"/>
            <a:ext cx="2074714" cy="2074985"/>
          </a:xfrm>
          <a:custGeom>
            <a:avLst/>
            <a:gdLst>
              <a:gd name="connsiteX0" fmla="*/ 164131 w 4149969"/>
              <a:gd name="connsiteY0" fmla="*/ 0 h 4149969"/>
              <a:gd name="connsiteX1" fmla="*/ 3985838 w 4149969"/>
              <a:gd name="connsiteY1" fmla="*/ 0 h 4149969"/>
              <a:gd name="connsiteX2" fmla="*/ 4149969 w 4149969"/>
              <a:gd name="connsiteY2" fmla="*/ 164131 h 4149969"/>
              <a:gd name="connsiteX3" fmla="*/ 4149969 w 4149969"/>
              <a:gd name="connsiteY3" fmla="*/ 3985838 h 4149969"/>
              <a:gd name="connsiteX4" fmla="*/ 3985838 w 4149969"/>
              <a:gd name="connsiteY4" fmla="*/ 4149969 h 4149969"/>
              <a:gd name="connsiteX5" fmla="*/ 164131 w 4149969"/>
              <a:gd name="connsiteY5" fmla="*/ 4149969 h 4149969"/>
              <a:gd name="connsiteX6" fmla="*/ 0 w 4149969"/>
              <a:gd name="connsiteY6" fmla="*/ 3985838 h 4149969"/>
              <a:gd name="connsiteX7" fmla="*/ 0 w 4149969"/>
              <a:gd name="connsiteY7" fmla="*/ 164131 h 4149969"/>
              <a:gd name="connsiteX8" fmla="*/ 164131 w 4149969"/>
              <a:gd name="connsiteY8" fmla="*/ 0 h 4149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49969" h="4149969">
                <a:moveTo>
                  <a:pt x="164131" y="0"/>
                </a:moveTo>
                <a:lnTo>
                  <a:pt x="3985838" y="0"/>
                </a:lnTo>
                <a:cubicBezTo>
                  <a:pt x="4076485" y="0"/>
                  <a:pt x="4149969" y="73484"/>
                  <a:pt x="4149969" y="164131"/>
                </a:cubicBezTo>
                <a:lnTo>
                  <a:pt x="4149969" y="3985838"/>
                </a:lnTo>
                <a:cubicBezTo>
                  <a:pt x="4149969" y="4076485"/>
                  <a:pt x="4076485" y="4149969"/>
                  <a:pt x="3985838" y="4149969"/>
                </a:cubicBezTo>
                <a:lnTo>
                  <a:pt x="164131" y="4149969"/>
                </a:lnTo>
                <a:cubicBezTo>
                  <a:pt x="73484" y="4149969"/>
                  <a:pt x="0" y="4076485"/>
                  <a:pt x="0" y="3985838"/>
                </a:cubicBezTo>
                <a:lnTo>
                  <a:pt x="0" y="164131"/>
                </a:lnTo>
                <a:cubicBezTo>
                  <a:pt x="0" y="73484"/>
                  <a:pt x="73484" y="0"/>
                  <a:pt x="164131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F2F8B1E-3E7A-4F60-9BAB-7DEF7F92825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9002151" y="1072662"/>
            <a:ext cx="2074714" cy="2074985"/>
          </a:xfrm>
          <a:custGeom>
            <a:avLst/>
            <a:gdLst>
              <a:gd name="connsiteX0" fmla="*/ 164130 w 4149968"/>
              <a:gd name="connsiteY0" fmla="*/ 0 h 4149969"/>
              <a:gd name="connsiteX1" fmla="*/ 3985836 w 4149968"/>
              <a:gd name="connsiteY1" fmla="*/ 0 h 4149969"/>
              <a:gd name="connsiteX2" fmla="*/ 4149968 w 4149968"/>
              <a:gd name="connsiteY2" fmla="*/ 164131 h 4149969"/>
              <a:gd name="connsiteX3" fmla="*/ 4149968 w 4149968"/>
              <a:gd name="connsiteY3" fmla="*/ 3985838 h 4149969"/>
              <a:gd name="connsiteX4" fmla="*/ 3985836 w 4149968"/>
              <a:gd name="connsiteY4" fmla="*/ 4149969 h 4149969"/>
              <a:gd name="connsiteX5" fmla="*/ 164130 w 4149968"/>
              <a:gd name="connsiteY5" fmla="*/ 4149969 h 4149969"/>
              <a:gd name="connsiteX6" fmla="*/ 0 w 4149968"/>
              <a:gd name="connsiteY6" fmla="*/ 3985838 h 4149969"/>
              <a:gd name="connsiteX7" fmla="*/ 0 w 4149968"/>
              <a:gd name="connsiteY7" fmla="*/ 164131 h 4149969"/>
              <a:gd name="connsiteX8" fmla="*/ 164130 w 4149968"/>
              <a:gd name="connsiteY8" fmla="*/ 0 h 4149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49968" h="4149969">
                <a:moveTo>
                  <a:pt x="164130" y="0"/>
                </a:moveTo>
                <a:lnTo>
                  <a:pt x="3985836" y="0"/>
                </a:lnTo>
                <a:cubicBezTo>
                  <a:pt x="4076484" y="0"/>
                  <a:pt x="4149968" y="73484"/>
                  <a:pt x="4149968" y="164131"/>
                </a:cubicBezTo>
                <a:lnTo>
                  <a:pt x="4149968" y="3985838"/>
                </a:lnTo>
                <a:cubicBezTo>
                  <a:pt x="4149968" y="4076485"/>
                  <a:pt x="4076484" y="4149969"/>
                  <a:pt x="3985836" y="4149969"/>
                </a:cubicBezTo>
                <a:lnTo>
                  <a:pt x="164130" y="4149969"/>
                </a:lnTo>
                <a:cubicBezTo>
                  <a:pt x="73484" y="4149969"/>
                  <a:pt x="0" y="4076485"/>
                  <a:pt x="0" y="3985838"/>
                </a:cubicBezTo>
                <a:lnTo>
                  <a:pt x="0" y="164131"/>
                </a:lnTo>
                <a:cubicBezTo>
                  <a:pt x="0" y="73484"/>
                  <a:pt x="73484" y="0"/>
                  <a:pt x="16413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0D42215-4E17-44B3-B255-4DC95D75583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373594" y="3701562"/>
            <a:ext cx="2074714" cy="2074985"/>
          </a:xfrm>
          <a:custGeom>
            <a:avLst/>
            <a:gdLst>
              <a:gd name="connsiteX0" fmla="*/ 164131 w 4149969"/>
              <a:gd name="connsiteY0" fmla="*/ 0 h 4149969"/>
              <a:gd name="connsiteX1" fmla="*/ 3985838 w 4149969"/>
              <a:gd name="connsiteY1" fmla="*/ 0 h 4149969"/>
              <a:gd name="connsiteX2" fmla="*/ 4149969 w 4149969"/>
              <a:gd name="connsiteY2" fmla="*/ 164131 h 4149969"/>
              <a:gd name="connsiteX3" fmla="*/ 4149969 w 4149969"/>
              <a:gd name="connsiteY3" fmla="*/ 3985838 h 4149969"/>
              <a:gd name="connsiteX4" fmla="*/ 3985838 w 4149969"/>
              <a:gd name="connsiteY4" fmla="*/ 4149969 h 4149969"/>
              <a:gd name="connsiteX5" fmla="*/ 164131 w 4149969"/>
              <a:gd name="connsiteY5" fmla="*/ 4149969 h 4149969"/>
              <a:gd name="connsiteX6" fmla="*/ 0 w 4149969"/>
              <a:gd name="connsiteY6" fmla="*/ 3985838 h 4149969"/>
              <a:gd name="connsiteX7" fmla="*/ 0 w 4149969"/>
              <a:gd name="connsiteY7" fmla="*/ 164131 h 4149969"/>
              <a:gd name="connsiteX8" fmla="*/ 164131 w 4149969"/>
              <a:gd name="connsiteY8" fmla="*/ 0 h 4149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49969" h="4149969">
                <a:moveTo>
                  <a:pt x="164131" y="0"/>
                </a:moveTo>
                <a:lnTo>
                  <a:pt x="3985838" y="0"/>
                </a:lnTo>
                <a:cubicBezTo>
                  <a:pt x="4076485" y="0"/>
                  <a:pt x="4149969" y="73484"/>
                  <a:pt x="4149969" y="164131"/>
                </a:cubicBezTo>
                <a:lnTo>
                  <a:pt x="4149969" y="3985838"/>
                </a:lnTo>
                <a:cubicBezTo>
                  <a:pt x="4149969" y="4076485"/>
                  <a:pt x="4076485" y="4149969"/>
                  <a:pt x="3985838" y="4149969"/>
                </a:cubicBezTo>
                <a:lnTo>
                  <a:pt x="164131" y="4149969"/>
                </a:lnTo>
                <a:cubicBezTo>
                  <a:pt x="73484" y="4149969"/>
                  <a:pt x="0" y="4076485"/>
                  <a:pt x="0" y="3985838"/>
                </a:cubicBezTo>
                <a:lnTo>
                  <a:pt x="0" y="164131"/>
                </a:lnTo>
                <a:cubicBezTo>
                  <a:pt x="0" y="73484"/>
                  <a:pt x="73484" y="0"/>
                  <a:pt x="164131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7A39E73-7B5A-4263-8F75-D9ADE00A6B6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002151" y="3701562"/>
            <a:ext cx="2074714" cy="2074985"/>
          </a:xfrm>
          <a:custGeom>
            <a:avLst/>
            <a:gdLst>
              <a:gd name="connsiteX0" fmla="*/ 164130 w 4149968"/>
              <a:gd name="connsiteY0" fmla="*/ 0 h 4149969"/>
              <a:gd name="connsiteX1" fmla="*/ 3985836 w 4149968"/>
              <a:gd name="connsiteY1" fmla="*/ 0 h 4149969"/>
              <a:gd name="connsiteX2" fmla="*/ 4149968 w 4149968"/>
              <a:gd name="connsiteY2" fmla="*/ 164131 h 4149969"/>
              <a:gd name="connsiteX3" fmla="*/ 4149968 w 4149968"/>
              <a:gd name="connsiteY3" fmla="*/ 3985838 h 4149969"/>
              <a:gd name="connsiteX4" fmla="*/ 3985836 w 4149968"/>
              <a:gd name="connsiteY4" fmla="*/ 4149969 h 4149969"/>
              <a:gd name="connsiteX5" fmla="*/ 164130 w 4149968"/>
              <a:gd name="connsiteY5" fmla="*/ 4149969 h 4149969"/>
              <a:gd name="connsiteX6" fmla="*/ 0 w 4149968"/>
              <a:gd name="connsiteY6" fmla="*/ 3985838 h 4149969"/>
              <a:gd name="connsiteX7" fmla="*/ 0 w 4149968"/>
              <a:gd name="connsiteY7" fmla="*/ 164131 h 4149969"/>
              <a:gd name="connsiteX8" fmla="*/ 164130 w 4149968"/>
              <a:gd name="connsiteY8" fmla="*/ 0 h 4149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49968" h="4149969">
                <a:moveTo>
                  <a:pt x="164130" y="0"/>
                </a:moveTo>
                <a:lnTo>
                  <a:pt x="3985836" y="0"/>
                </a:lnTo>
                <a:cubicBezTo>
                  <a:pt x="4076484" y="0"/>
                  <a:pt x="4149968" y="73484"/>
                  <a:pt x="4149968" y="164131"/>
                </a:cubicBezTo>
                <a:lnTo>
                  <a:pt x="4149968" y="3985838"/>
                </a:lnTo>
                <a:cubicBezTo>
                  <a:pt x="4149968" y="4076485"/>
                  <a:pt x="4076484" y="4149969"/>
                  <a:pt x="3985836" y="4149969"/>
                </a:cubicBezTo>
                <a:lnTo>
                  <a:pt x="164130" y="4149969"/>
                </a:lnTo>
                <a:cubicBezTo>
                  <a:pt x="73484" y="4149969"/>
                  <a:pt x="0" y="4076485"/>
                  <a:pt x="0" y="3985838"/>
                </a:cubicBezTo>
                <a:lnTo>
                  <a:pt x="0" y="164131"/>
                </a:lnTo>
                <a:cubicBezTo>
                  <a:pt x="0" y="73484"/>
                  <a:pt x="73484" y="0"/>
                  <a:pt x="16413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171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20000" decel="8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20000" decel="8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20000" decel="8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4FCF9F-099A-4841-A0D2-1F9406BC929F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6581172" y="1000878"/>
            <a:ext cx="4693708" cy="4694319"/>
          </a:xfrm>
          <a:custGeom>
            <a:avLst/>
            <a:gdLst>
              <a:gd name="connsiteX0" fmla="*/ 4694318 w 9388638"/>
              <a:gd name="connsiteY0" fmla="*/ 0 h 9388637"/>
              <a:gd name="connsiteX1" fmla="*/ 5269760 w 9388638"/>
              <a:gd name="connsiteY1" fmla="*/ 238356 h 9388637"/>
              <a:gd name="connsiteX2" fmla="*/ 9150282 w 9388638"/>
              <a:gd name="connsiteY2" fmla="*/ 4118877 h 9388637"/>
              <a:gd name="connsiteX3" fmla="*/ 9150282 w 9388638"/>
              <a:gd name="connsiteY3" fmla="*/ 5269761 h 9388637"/>
              <a:gd name="connsiteX4" fmla="*/ 5269760 w 9388638"/>
              <a:gd name="connsiteY4" fmla="*/ 9150281 h 9388637"/>
              <a:gd name="connsiteX5" fmla="*/ 4118876 w 9388638"/>
              <a:gd name="connsiteY5" fmla="*/ 9150281 h 9388637"/>
              <a:gd name="connsiteX6" fmla="*/ 238356 w 9388638"/>
              <a:gd name="connsiteY6" fmla="*/ 5269761 h 9388637"/>
              <a:gd name="connsiteX7" fmla="*/ 238356 w 9388638"/>
              <a:gd name="connsiteY7" fmla="*/ 4118877 h 9388637"/>
              <a:gd name="connsiteX8" fmla="*/ 4118876 w 9388638"/>
              <a:gd name="connsiteY8" fmla="*/ 238356 h 9388637"/>
              <a:gd name="connsiteX9" fmla="*/ 4694318 w 9388638"/>
              <a:gd name="connsiteY9" fmla="*/ 0 h 938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88638" h="9388637">
                <a:moveTo>
                  <a:pt x="4694318" y="0"/>
                </a:moveTo>
                <a:cubicBezTo>
                  <a:pt x="4902588" y="0"/>
                  <a:pt x="5110856" y="79452"/>
                  <a:pt x="5269760" y="238356"/>
                </a:cubicBezTo>
                <a:lnTo>
                  <a:pt x="9150282" y="4118877"/>
                </a:lnTo>
                <a:cubicBezTo>
                  <a:pt x="9468090" y="4436684"/>
                  <a:pt x="9468090" y="4951953"/>
                  <a:pt x="9150282" y="5269761"/>
                </a:cubicBezTo>
                <a:lnTo>
                  <a:pt x="5269760" y="9150281"/>
                </a:lnTo>
                <a:cubicBezTo>
                  <a:pt x="4951952" y="9468089"/>
                  <a:pt x="4436684" y="9468089"/>
                  <a:pt x="4118876" y="9150281"/>
                </a:cubicBezTo>
                <a:lnTo>
                  <a:pt x="238356" y="5269761"/>
                </a:lnTo>
                <a:cubicBezTo>
                  <a:pt x="-79452" y="4951953"/>
                  <a:pt x="-79452" y="4436684"/>
                  <a:pt x="238356" y="4118877"/>
                </a:cubicBezTo>
                <a:lnTo>
                  <a:pt x="4118876" y="238356"/>
                </a:lnTo>
                <a:cubicBezTo>
                  <a:pt x="4277780" y="79452"/>
                  <a:pt x="4486050" y="0"/>
                  <a:pt x="4694318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8C566A2-1865-41A8-964C-20C135560AD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969838" y="427236"/>
            <a:ext cx="1196771" cy="1196927"/>
          </a:xfrm>
          <a:custGeom>
            <a:avLst/>
            <a:gdLst>
              <a:gd name="connsiteX0" fmla="*/ 1196926 w 2393853"/>
              <a:gd name="connsiteY0" fmla="*/ 0 h 2393853"/>
              <a:gd name="connsiteX1" fmla="*/ 1545217 w 2393853"/>
              <a:gd name="connsiteY1" fmla="*/ 144267 h 2393853"/>
              <a:gd name="connsiteX2" fmla="*/ 2249586 w 2393853"/>
              <a:gd name="connsiteY2" fmla="*/ 848636 h 2393853"/>
              <a:gd name="connsiteX3" fmla="*/ 2249586 w 2393853"/>
              <a:gd name="connsiteY3" fmla="*/ 1545217 h 2393853"/>
              <a:gd name="connsiteX4" fmla="*/ 1545217 w 2393853"/>
              <a:gd name="connsiteY4" fmla="*/ 2249587 h 2393853"/>
              <a:gd name="connsiteX5" fmla="*/ 848636 w 2393853"/>
              <a:gd name="connsiteY5" fmla="*/ 2249587 h 2393853"/>
              <a:gd name="connsiteX6" fmla="*/ 144267 w 2393853"/>
              <a:gd name="connsiteY6" fmla="*/ 1545217 h 2393853"/>
              <a:gd name="connsiteX7" fmla="*/ 144267 w 2393853"/>
              <a:gd name="connsiteY7" fmla="*/ 848636 h 2393853"/>
              <a:gd name="connsiteX8" fmla="*/ 848636 w 2393853"/>
              <a:gd name="connsiteY8" fmla="*/ 144267 h 2393853"/>
              <a:gd name="connsiteX9" fmla="*/ 1196926 w 2393853"/>
              <a:gd name="connsiteY9" fmla="*/ 0 h 239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93853" h="2393853">
                <a:moveTo>
                  <a:pt x="1196926" y="0"/>
                </a:moveTo>
                <a:cubicBezTo>
                  <a:pt x="1322983" y="0"/>
                  <a:pt x="1449039" y="48089"/>
                  <a:pt x="1545217" y="144267"/>
                </a:cubicBezTo>
                <a:lnTo>
                  <a:pt x="2249586" y="848636"/>
                </a:lnTo>
                <a:cubicBezTo>
                  <a:pt x="2441942" y="1040992"/>
                  <a:pt x="2441942" y="1352861"/>
                  <a:pt x="2249586" y="1545217"/>
                </a:cubicBezTo>
                <a:lnTo>
                  <a:pt x="1545217" y="2249587"/>
                </a:lnTo>
                <a:cubicBezTo>
                  <a:pt x="1352861" y="2441942"/>
                  <a:pt x="1040992" y="2441942"/>
                  <a:pt x="848636" y="2249587"/>
                </a:cubicBezTo>
                <a:lnTo>
                  <a:pt x="144267" y="1545217"/>
                </a:lnTo>
                <a:cubicBezTo>
                  <a:pt x="-48089" y="1352861"/>
                  <a:pt x="-48089" y="1040992"/>
                  <a:pt x="144267" y="848636"/>
                </a:cubicBezTo>
                <a:lnTo>
                  <a:pt x="848636" y="144267"/>
                </a:lnTo>
                <a:cubicBezTo>
                  <a:pt x="944814" y="48089"/>
                  <a:pt x="1070870" y="0"/>
                  <a:pt x="1196926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3CB3305-5B96-425F-A3E4-B051758C6C1D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712882" y="4787321"/>
            <a:ext cx="1196780" cy="1196936"/>
          </a:xfrm>
          <a:custGeom>
            <a:avLst/>
            <a:gdLst>
              <a:gd name="connsiteX0" fmla="*/ 1196935 w 2393871"/>
              <a:gd name="connsiteY0" fmla="*/ 0 h 2393871"/>
              <a:gd name="connsiteX1" fmla="*/ 1545212 w 2393871"/>
              <a:gd name="connsiteY1" fmla="*/ 144261 h 2393871"/>
              <a:gd name="connsiteX2" fmla="*/ 2249610 w 2393871"/>
              <a:gd name="connsiteY2" fmla="*/ 848659 h 2393871"/>
              <a:gd name="connsiteX3" fmla="*/ 2249610 w 2393871"/>
              <a:gd name="connsiteY3" fmla="*/ 1545212 h 2393871"/>
              <a:gd name="connsiteX4" fmla="*/ 1545212 w 2393871"/>
              <a:gd name="connsiteY4" fmla="*/ 2249610 h 2393871"/>
              <a:gd name="connsiteX5" fmla="*/ 848659 w 2393871"/>
              <a:gd name="connsiteY5" fmla="*/ 2249610 h 2393871"/>
              <a:gd name="connsiteX6" fmla="*/ 144261 w 2393871"/>
              <a:gd name="connsiteY6" fmla="*/ 1545212 h 2393871"/>
              <a:gd name="connsiteX7" fmla="*/ 144261 w 2393871"/>
              <a:gd name="connsiteY7" fmla="*/ 848659 h 2393871"/>
              <a:gd name="connsiteX8" fmla="*/ 848659 w 2393871"/>
              <a:gd name="connsiteY8" fmla="*/ 144261 h 2393871"/>
              <a:gd name="connsiteX9" fmla="*/ 1196935 w 2393871"/>
              <a:gd name="connsiteY9" fmla="*/ 0 h 2393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93871" h="2393871">
                <a:moveTo>
                  <a:pt x="1196935" y="0"/>
                </a:moveTo>
                <a:cubicBezTo>
                  <a:pt x="1322987" y="0"/>
                  <a:pt x="1449038" y="48087"/>
                  <a:pt x="1545212" y="144261"/>
                </a:cubicBezTo>
                <a:lnTo>
                  <a:pt x="2249610" y="848659"/>
                </a:lnTo>
                <a:cubicBezTo>
                  <a:pt x="2441958" y="1041007"/>
                  <a:pt x="2441958" y="1352864"/>
                  <a:pt x="2249610" y="1545212"/>
                </a:cubicBezTo>
                <a:lnTo>
                  <a:pt x="1545212" y="2249610"/>
                </a:lnTo>
                <a:cubicBezTo>
                  <a:pt x="1352864" y="2441958"/>
                  <a:pt x="1041007" y="2441958"/>
                  <a:pt x="848659" y="2249610"/>
                </a:cubicBezTo>
                <a:lnTo>
                  <a:pt x="144261" y="1545212"/>
                </a:lnTo>
                <a:cubicBezTo>
                  <a:pt x="-48087" y="1352864"/>
                  <a:pt x="-48087" y="1041007"/>
                  <a:pt x="144261" y="848659"/>
                </a:cubicBezTo>
                <a:lnTo>
                  <a:pt x="848659" y="144261"/>
                </a:lnTo>
                <a:cubicBezTo>
                  <a:pt x="944833" y="48087"/>
                  <a:pt x="1070884" y="0"/>
                  <a:pt x="119693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DADA059-F0F5-47B9-A94F-B5CEEA4871E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792129" y="4847466"/>
            <a:ext cx="1210276" cy="1210435"/>
          </a:xfrm>
          <a:custGeom>
            <a:avLst/>
            <a:gdLst>
              <a:gd name="connsiteX0" fmla="*/ 1210435 w 2420868"/>
              <a:gd name="connsiteY0" fmla="*/ 0 h 2420869"/>
              <a:gd name="connsiteX1" fmla="*/ 1535665 w 2420868"/>
              <a:gd name="connsiteY1" fmla="*/ 134715 h 2420869"/>
              <a:gd name="connsiteX2" fmla="*/ 2286153 w 2420868"/>
              <a:gd name="connsiteY2" fmla="*/ 885204 h 2420869"/>
              <a:gd name="connsiteX3" fmla="*/ 2286153 w 2420868"/>
              <a:gd name="connsiteY3" fmla="*/ 1535665 h 2420869"/>
              <a:gd name="connsiteX4" fmla="*/ 1535665 w 2420868"/>
              <a:gd name="connsiteY4" fmla="*/ 2286154 h 2420869"/>
              <a:gd name="connsiteX5" fmla="*/ 885203 w 2420868"/>
              <a:gd name="connsiteY5" fmla="*/ 2286154 h 2420869"/>
              <a:gd name="connsiteX6" fmla="*/ 134715 w 2420868"/>
              <a:gd name="connsiteY6" fmla="*/ 1535665 h 2420869"/>
              <a:gd name="connsiteX7" fmla="*/ 134715 w 2420868"/>
              <a:gd name="connsiteY7" fmla="*/ 885204 h 2420869"/>
              <a:gd name="connsiteX8" fmla="*/ 885203 w 2420868"/>
              <a:gd name="connsiteY8" fmla="*/ 134715 h 2420869"/>
              <a:gd name="connsiteX9" fmla="*/ 1210435 w 2420868"/>
              <a:gd name="connsiteY9" fmla="*/ 0 h 2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20868" h="2420869">
                <a:moveTo>
                  <a:pt x="1210435" y="0"/>
                </a:moveTo>
                <a:cubicBezTo>
                  <a:pt x="1328145" y="0"/>
                  <a:pt x="1445855" y="44905"/>
                  <a:pt x="1535665" y="134715"/>
                </a:cubicBezTo>
                <a:lnTo>
                  <a:pt x="2286153" y="885204"/>
                </a:lnTo>
                <a:cubicBezTo>
                  <a:pt x="2465773" y="1064824"/>
                  <a:pt x="2465773" y="1356045"/>
                  <a:pt x="2286153" y="1535665"/>
                </a:cubicBezTo>
                <a:lnTo>
                  <a:pt x="1535665" y="2286154"/>
                </a:lnTo>
                <a:cubicBezTo>
                  <a:pt x="1356045" y="2465774"/>
                  <a:pt x="1064823" y="2465774"/>
                  <a:pt x="885203" y="2286154"/>
                </a:cubicBezTo>
                <a:lnTo>
                  <a:pt x="134715" y="1535665"/>
                </a:lnTo>
                <a:cubicBezTo>
                  <a:pt x="-44905" y="1356045"/>
                  <a:pt x="-44905" y="1064824"/>
                  <a:pt x="134715" y="885204"/>
                </a:cubicBezTo>
                <a:lnTo>
                  <a:pt x="885203" y="134715"/>
                </a:lnTo>
                <a:cubicBezTo>
                  <a:pt x="975013" y="44905"/>
                  <a:pt x="1092723" y="0"/>
                  <a:pt x="121043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951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4FCF9F-099A-4841-A0D2-1F9406BC929F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10685" y="1000878"/>
            <a:ext cx="4693708" cy="4694319"/>
          </a:xfrm>
          <a:custGeom>
            <a:avLst/>
            <a:gdLst>
              <a:gd name="connsiteX0" fmla="*/ 4694318 w 9388638"/>
              <a:gd name="connsiteY0" fmla="*/ 0 h 9388637"/>
              <a:gd name="connsiteX1" fmla="*/ 5269760 w 9388638"/>
              <a:gd name="connsiteY1" fmla="*/ 238356 h 9388637"/>
              <a:gd name="connsiteX2" fmla="*/ 9150282 w 9388638"/>
              <a:gd name="connsiteY2" fmla="*/ 4118877 h 9388637"/>
              <a:gd name="connsiteX3" fmla="*/ 9150282 w 9388638"/>
              <a:gd name="connsiteY3" fmla="*/ 5269761 h 9388637"/>
              <a:gd name="connsiteX4" fmla="*/ 5269760 w 9388638"/>
              <a:gd name="connsiteY4" fmla="*/ 9150281 h 9388637"/>
              <a:gd name="connsiteX5" fmla="*/ 4118876 w 9388638"/>
              <a:gd name="connsiteY5" fmla="*/ 9150281 h 9388637"/>
              <a:gd name="connsiteX6" fmla="*/ 238356 w 9388638"/>
              <a:gd name="connsiteY6" fmla="*/ 5269761 h 9388637"/>
              <a:gd name="connsiteX7" fmla="*/ 238356 w 9388638"/>
              <a:gd name="connsiteY7" fmla="*/ 4118877 h 9388637"/>
              <a:gd name="connsiteX8" fmla="*/ 4118876 w 9388638"/>
              <a:gd name="connsiteY8" fmla="*/ 238356 h 9388637"/>
              <a:gd name="connsiteX9" fmla="*/ 4694318 w 9388638"/>
              <a:gd name="connsiteY9" fmla="*/ 0 h 938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88638" h="9388637">
                <a:moveTo>
                  <a:pt x="4694318" y="0"/>
                </a:moveTo>
                <a:cubicBezTo>
                  <a:pt x="4902588" y="0"/>
                  <a:pt x="5110856" y="79452"/>
                  <a:pt x="5269760" y="238356"/>
                </a:cubicBezTo>
                <a:lnTo>
                  <a:pt x="9150282" y="4118877"/>
                </a:lnTo>
                <a:cubicBezTo>
                  <a:pt x="9468090" y="4436684"/>
                  <a:pt x="9468090" y="4951953"/>
                  <a:pt x="9150282" y="5269761"/>
                </a:cubicBezTo>
                <a:lnTo>
                  <a:pt x="5269760" y="9150281"/>
                </a:lnTo>
                <a:cubicBezTo>
                  <a:pt x="4951952" y="9468089"/>
                  <a:pt x="4436684" y="9468089"/>
                  <a:pt x="4118876" y="9150281"/>
                </a:cubicBezTo>
                <a:lnTo>
                  <a:pt x="238356" y="5269761"/>
                </a:lnTo>
                <a:cubicBezTo>
                  <a:pt x="-79452" y="4951953"/>
                  <a:pt x="-79452" y="4436684"/>
                  <a:pt x="238356" y="4118877"/>
                </a:cubicBezTo>
                <a:lnTo>
                  <a:pt x="4118876" y="238356"/>
                </a:lnTo>
                <a:cubicBezTo>
                  <a:pt x="4277780" y="79452"/>
                  <a:pt x="4486050" y="0"/>
                  <a:pt x="4694318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8C566A2-1865-41A8-964C-20C135560AD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221540" y="4883266"/>
            <a:ext cx="1196771" cy="1196927"/>
          </a:xfrm>
          <a:custGeom>
            <a:avLst/>
            <a:gdLst>
              <a:gd name="connsiteX0" fmla="*/ 1196926 w 2393853"/>
              <a:gd name="connsiteY0" fmla="*/ 0 h 2393853"/>
              <a:gd name="connsiteX1" fmla="*/ 1545217 w 2393853"/>
              <a:gd name="connsiteY1" fmla="*/ 144267 h 2393853"/>
              <a:gd name="connsiteX2" fmla="*/ 2249586 w 2393853"/>
              <a:gd name="connsiteY2" fmla="*/ 848636 h 2393853"/>
              <a:gd name="connsiteX3" fmla="*/ 2249586 w 2393853"/>
              <a:gd name="connsiteY3" fmla="*/ 1545217 h 2393853"/>
              <a:gd name="connsiteX4" fmla="*/ 1545217 w 2393853"/>
              <a:gd name="connsiteY4" fmla="*/ 2249587 h 2393853"/>
              <a:gd name="connsiteX5" fmla="*/ 848636 w 2393853"/>
              <a:gd name="connsiteY5" fmla="*/ 2249587 h 2393853"/>
              <a:gd name="connsiteX6" fmla="*/ 144267 w 2393853"/>
              <a:gd name="connsiteY6" fmla="*/ 1545217 h 2393853"/>
              <a:gd name="connsiteX7" fmla="*/ 144267 w 2393853"/>
              <a:gd name="connsiteY7" fmla="*/ 848636 h 2393853"/>
              <a:gd name="connsiteX8" fmla="*/ 848636 w 2393853"/>
              <a:gd name="connsiteY8" fmla="*/ 144267 h 2393853"/>
              <a:gd name="connsiteX9" fmla="*/ 1196926 w 2393853"/>
              <a:gd name="connsiteY9" fmla="*/ 0 h 239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93853" h="2393853">
                <a:moveTo>
                  <a:pt x="1196926" y="0"/>
                </a:moveTo>
                <a:cubicBezTo>
                  <a:pt x="1322983" y="0"/>
                  <a:pt x="1449039" y="48089"/>
                  <a:pt x="1545217" y="144267"/>
                </a:cubicBezTo>
                <a:lnTo>
                  <a:pt x="2249586" y="848636"/>
                </a:lnTo>
                <a:cubicBezTo>
                  <a:pt x="2441942" y="1040992"/>
                  <a:pt x="2441942" y="1352861"/>
                  <a:pt x="2249586" y="1545217"/>
                </a:cubicBezTo>
                <a:lnTo>
                  <a:pt x="1545217" y="2249587"/>
                </a:lnTo>
                <a:cubicBezTo>
                  <a:pt x="1352861" y="2441942"/>
                  <a:pt x="1040992" y="2441942"/>
                  <a:pt x="848636" y="2249587"/>
                </a:cubicBezTo>
                <a:lnTo>
                  <a:pt x="144267" y="1545217"/>
                </a:lnTo>
                <a:cubicBezTo>
                  <a:pt x="-48089" y="1352861"/>
                  <a:pt x="-48089" y="1040992"/>
                  <a:pt x="144267" y="848636"/>
                </a:cubicBezTo>
                <a:lnTo>
                  <a:pt x="848636" y="144267"/>
                </a:lnTo>
                <a:cubicBezTo>
                  <a:pt x="944814" y="48089"/>
                  <a:pt x="1070870" y="0"/>
                  <a:pt x="1196926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3CB3305-5B96-425F-A3E4-B051758C6C1D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222925" y="4765070"/>
            <a:ext cx="1196780" cy="1196936"/>
          </a:xfrm>
          <a:custGeom>
            <a:avLst/>
            <a:gdLst>
              <a:gd name="connsiteX0" fmla="*/ 1196935 w 2393871"/>
              <a:gd name="connsiteY0" fmla="*/ 0 h 2393871"/>
              <a:gd name="connsiteX1" fmla="*/ 1545212 w 2393871"/>
              <a:gd name="connsiteY1" fmla="*/ 144261 h 2393871"/>
              <a:gd name="connsiteX2" fmla="*/ 2249610 w 2393871"/>
              <a:gd name="connsiteY2" fmla="*/ 848659 h 2393871"/>
              <a:gd name="connsiteX3" fmla="*/ 2249610 w 2393871"/>
              <a:gd name="connsiteY3" fmla="*/ 1545212 h 2393871"/>
              <a:gd name="connsiteX4" fmla="*/ 1545212 w 2393871"/>
              <a:gd name="connsiteY4" fmla="*/ 2249610 h 2393871"/>
              <a:gd name="connsiteX5" fmla="*/ 848659 w 2393871"/>
              <a:gd name="connsiteY5" fmla="*/ 2249610 h 2393871"/>
              <a:gd name="connsiteX6" fmla="*/ 144261 w 2393871"/>
              <a:gd name="connsiteY6" fmla="*/ 1545212 h 2393871"/>
              <a:gd name="connsiteX7" fmla="*/ 144261 w 2393871"/>
              <a:gd name="connsiteY7" fmla="*/ 848659 h 2393871"/>
              <a:gd name="connsiteX8" fmla="*/ 848659 w 2393871"/>
              <a:gd name="connsiteY8" fmla="*/ 144261 h 2393871"/>
              <a:gd name="connsiteX9" fmla="*/ 1196935 w 2393871"/>
              <a:gd name="connsiteY9" fmla="*/ 0 h 2393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93871" h="2393871">
                <a:moveTo>
                  <a:pt x="1196935" y="0"/>
                </a:moveTo>
                <a:cubicBezTo>
                  <a:pt x="1322987" y="0"/>
                  <a:pt x="1449038" y="48087"/>
                  <a:pt x="1545212" y="144261"/>
                </a:cubicBezTo>
                <a:lnTo>
                  <a:pt x="2249610" y="848659"/>
                </a:lnTo>
                <a:cubicBezTo>
                  <a:pt x="2441958" y="1041007"/>
                  <a:pt x="2441958" y="1352864"/>
                  <a:pt x="2249610" y="1545212"/>
                </a:cubicBezTo>
                <a:lnTo>
                  <a:pt x="1545212" y="2249610"/>
                </a:lnTo>
                <a:cubicBezTo>
                  <a:pt x="1352864" y="2441958"/>
                  <a:pt x="1041007" y="2441958"/>
                  <a:pt x="848659" y="2249610"/>
                </a:cubicBezTo>
                <a:lnTo>
                  <a:pt x="144261" y="1545212"/>
                </a:lnTo>
                <a:cubicBezTo>
                  <a:pt x="-48087" y="1352864"/>
                  <a:pt x="-48087" y="1041007"/>
                  <a:pt x="144261" y="848659"/>
                </a:cubicBezTo>
                <a:lnTo>
                  <a:pt x="848659" y="144261"/>
                </a:lnTo>
                <a:cubicBezTo>
                  <a:pt x="944833" y="48087"/>
                  <a:pt x="1070884" y="0"/>
                  <a:pt x="119693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DADA059-F0F5-47B9-A94F-B5CEEA4871E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05225" y="1267687"/>
            <a:ext cx="1210276" cy="1210435"/>
          </a:xfrm>
          <a:custGeom>
            <a:avLst/>
            <a:gdLst>
              <a:gd name="connsiteX0" fmla="*/ 1210435 w 2420868"/>
              <a:gd name="connsiteY0" fmla="*/ 0 h 2420869"/>
              <a:gd name="connsiteX1" fmla="*/ 1535665 w 2420868"/>
              <a:gd name="connsiteY1" fmla="*/ 134715 h 2420869"/>
              <a:gd name="connsiteX2" fmla="*/ 2286153 w 2420868"/>
              <a:gd name="connsiteY2" fmla="*/ 885204 h 2420869"/>
              <a:gd name="connsiteX3" fmla="*/ 2286153 w 2420868"/>
              <a:gd name="connsiteY3" fmla="*/ 1535665 h 2420869"/>
              <a:gd name="connsiteX4" fmla="*/ 1535665 w 2420868"/>
              <a:gd name="connsiteY4" fmla="*/ 2286154 h 2420869"/>
              <a:gd name="connsiteX5" fmla="*/ 885203 w 2420868"/>
              <a:gd name="connsiteY5" fmla="*/ 2286154 h 2420869"/>
              <a:gd name="connsiteX6" fmla="*/ 134715 w 2420868"/>
              <a:gd name="connsiteY6" fmla="*/ 1535665 h 2420869"/>
              <a:gd name="connsiteX7" fmla="*/ 134715 w 2420868"/>
              <a:gd name="connsiteY7" fmla="*/ 885204 h 2420869"/>
              <a:gd name="connsiteX8" fmla="*/ 885203 w 2420868"/>
              <a:gd name="connsiteY8" fmla="*/ 134715 h 2420869"/>
              <a:gd name="connsiteX9" fmla="*/ 1210435 w 2420868"/>
              <a:gd name="connsiteY9" fmla="*/ 0 h 242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20868" h="2420869">
                <a:moveTo>
                  <a:pt x="1210435" y="0"/>
                </a:moveTo>
                <a:cubicBezTo>
                  <a:pt x="1328145" y="0"/>
                  <a:pt x="1445855" y="44905"/>
                  <a:pt x="1535665" y="134715"/>
                </a:cubicBezTo>
                <a:lnTo>
                  <a:pt x="2286153" y="885204"/>
                </a:lnTo>
                <a:cubicBezTo>
                  <a:pt x="2465773" y="1064824"/>
                  <a:pt x="2465773" y="1356045"/>
                  <a:pt x="2286153" y="1535665"/>
                </a:cubicBezTo>
                <a:lnTo>
                  <a:pt x="1535665" y="2286154"/>
                </a:lnTo>
                <a:cubicBezTo>
                  <a:pt x="1356045" y="2465774"/>
                  <a:pt x="1064823" y="2465774"/>
                  <a:pt x="885203" y="2286154"/>
                </a:cubicBezTo>
                <a:lnTo>
                  <a:pt x="134715" y="1535665"/>
                </a:lnTo>
                <a:cubicBezTo>
                  <a:pt x="-44905" y="1356045"/>
                  <a:pt x="-44905" y="1064824"/>
                  <a:pt x="134715" y="885204"/>
                </a:cubicBezTo>
                <a:lnTo>
                  <a:pt x="885203" y="134715"/>
                </a:lnTo>
                <a:cubicBezTo>
                  <a:pt x="975013" y="44905"/>
                  <a:pt x="1092723" y="0"/>
                  <a:pt x="121043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45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4D77759-49C9-4C8A-ADD7-C4B83131C497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040669" y="1252728"/>
            <a:ext cx="4045239" cy="3860035"/>
          </a:xfrm>
          <a:custGeom>
            <a:avLst/>
            <a:gdLst>
              <a:gd name="connsiteX0" fmla="*/ 2339357 w 4567458"/>
              <a:gd name="connsiteY0" fmla="*/ 76 h 4357778"/>
              <a:gd name="connsiteX1" fmla="*/ 3114959 w 4567458"/>
              <a:gd name="connsiteY1" fmla="*/ 590597 h 4357778"/>
              <a:gd name="connsiteX2" fmla="*/ 4397494 w 4567458"/>
              <a:gd name="connsiteY2" fmla="*/ 2961505 h 4357778"/>
              <a:gd name="connsiteX3" fmla="*/ 3555336 w 4567458"/>
              <a:gd name="connsiteY3" fmla="*/ 4357744 h 4357778"/>
              <a:gd name="connsiteX4" fmla="*/ 992809 w 4567458"/>
              <a:gd name="connsiteY4" fmla="*/ 4328688 h 4357778"/>
              <a:gd name="connsiteX5" fmla="*/ 187947 w 4567458"/>
              <a:gd name="connsiteY5" fmla="*/ 2922771 h 4357778"/>
              <a:gd name="connsiteX6" fmla="*/ 1548722 w 4567458"/>
              <a:gd name="connsiteY6" fmla="*/ 565839 h 4357778"/>
              <a:gd name="connsiteX7" fmla="*/ 2339357 w 4567458"/>
              <a:gd name="connsiteY7" fmla="*/ 76 h 4357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67458" h="4357778">
                <a:moveTo>
                  <a:pt x="2339357" y="76"/>
                </a:moveTo>
                <a:cubicBezTo>
                  <a:pt x="2623179" y="4497"/>
                  <a:pt x="2904496" y="201633"/>
                  <a:pt x="3114959" y="590597"/>
                </a:cubicBezTo>
                <a:cubicBezTo>
                  <a:pt x="4397494" y="2961505"/>
                  <a:pt x="4397494" y="2961505"/>
                  <a:pt x="4397494" y="2961505"/>
                </a:cubicBezTo>
                <a:cubicBezTo>
                  <a:pt x="4814559" y="3737204"/>
                  <a:pt x="4437726" y="4363146"/>
                  <a:pt x="3555336" y="4357744"/>
                </a:cubicBezTo>
                <a:lnTo>
                  <a:pt x="992809" y="4328688"/>
                </a:lnTo>
                <a:cubicBezTo>
                  <a:pt x="108785" y="4317199"/>
                  <a:pt x="-253025" y="3686556"/>
                  <a:pt x="187947" y="2922771"/>
                </a:cubicBezTo>
                <a:cubicBezTo>
                  <a:pt x="1548722" y="565839"/>
                  <a:pt x="1548722" y="565839"/>
                  <a:pt x="1548722" y="565839"/>
                </a:cubicBezTo>
                <a:cubicBezTo>
                  <a:pt x="1769208" y="183947"/>
                  <a:pt x="2055536" y="-4346"/>
                  <a:pt x="2339357" y="76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9728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E1DB1B1-7F87-4CFE-86AB-6B8D234E28FA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2692565" y="1554191"/>
            <a:ext cx="2161280" cy="3137749"/>
          </a:xfrm>
          <a:custGeom>
            <a:avLst/>
            <a:gdLst>
              <a:gd name="connsiteX0" fmla="*/ 0 w 4323122"/>
              <a:gd name="connsiteY0" fmla="*/ 0 h 6275498"/>
              <a:gd name="connsiteX1" fmla="*/ 4323122 w 4323122"/>
              <a:gd name="connsiteY1" fmla="*/ 0 h 6275498"/>
              <a:gd name="connsiteX2" fmla="*/ 4323122 w 4323122"/>
              <a:gd name="connsiteY2" fmla="*/ 6275498 h 6275498"/>
              <a:gd name="connsiteX3" fmla="*/ 0 w 4323122"/>
              <a:gd name="connsiteY3" fmla="*/ 6275498 h 627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3122" h="6275498">
                <a:moveTo>
                  <a:pt x="0" y="0"/>
                </a:moveTo>
                <a:lnTo>
                  <a:pt x="4323122" y="0"/>
                </a:lnTo>
                <a:lnTo>
                  <a:pt x="4323122" y="6275498"/>
                </a:lnTo>
                <a:lnTo>
                  <a:pt x="0" y="6275498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52F08-930C-4D0B-9F20-803E94BCFE78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015360" y="1554191"/>
            <a:ext cx="2161280" cy="1617684"/>
          </a:xfrm>
          <a:custGeom>
            <a:avLst/>
            <a:gdLst>
              <a:gd name="connsiteX0" fmla="*/ 0 w 4323122"/>
              <a:gd name="connsiteY0" fmla="*/ 0 h 3235368"/>
              <a:gd name="connsiteX1" fmla="*/ 4323122 w 4323122"/>
              <a:gd name="connsiteY1" fmla="*/ 0 h 3235368"/>
              <a:gd name="connsiteX2" fmla="*/ 4323122 w 4323122"/>
              <a:gd name="connsiteY2" fmla="*/ 3235368 h 3235368"/>
              <a:gd name="connsiteX3" fmla="*/ 0 w 4323122"/>
              <a:gd name="connsiteY3" fmla="*/ 3235368 h 3235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3122" h="3235368">
                <a:moveTo>
                  <a:pt x="0" y="0"/>
                </a:moveTo>
                <a:lnTo>
                  <a:pt x="4323122" y="0"/>
                </a:lnTo>
                <a:lnTo>
                  <a:pt x="4323122" y="3235368"/>
                </a:lnTo>
                <a:lnTo>
                  <a:pt x="0" y="3235368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2BB7F41-0305-484D-8D33-70AC6F00DCC0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338155" y="1554191"/>
            <a:ext cx="2161280" cy="3137749"/>
          </a:xfrm>
          <a:custGeom>
            <a:avLst/>
            <a:gdLst>
              <a:gd name="connsiteX0" fmla="*/ 0 w 4323123"/>
              <a:gd name="connsiteY0" fmla="*/ 0 h 6275498"/>
              <a:gd name="connsiteX1" fmla="*/ 4323123 w 4323123"/>
              <a:gd name="connsiteY1" fmla="*/ 0 h 6275498"/>
              <a:gd name="connsiteX2" fmla="*/ 4323123 w 4323123"/>
              <a:gd name="connsiteY2" fmla="*/ 6275498 h 6275498"/>
              <a:gd name="connsiteX3" fmla="*/ 0 w 4323123"/>
              <a:gd name="connsiteY3" fmla="*/ 6275498 h 627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3123" h="6275498">
                <a:moveTo>
                  <a:pt x="0" y="0"/>
                </a:moveTo>
                <a:lnTo>
                  <a:pt x="4323123" y="0"/>
                </a:lnTo>
                <a:lnTo>
                  <a:pt x="4323123" y="6275498"/>
                </a:lnTo>
                <a:lnTo>
                  <a:pt x="0" y="6275498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4E8E28-E2C1-4152-A345-F2F5C1EBF29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015360" y="3333411"/>
            <a:ext cx="2161280" cy="2231289"/>
          </a:xfrm>
          <a:custGeom>
            <a:avLst/>
            <a:gdLst>
              <a:gd name="connsiteX0" fmla="*/ 0 w 4323122"/>
              <a:gd name="connsiteY0" fmla="*/ 0 h 4462577"/>
              <a:gd name="connsiteX1" fmla="*/ 4323122 w 4323122"/>
              <a:gd name="connsiteY1" fmla="*/ 0 h 4462577"/>
              <a:gd name="connsiteX2" fmla="*/ 4323122 w 4323122"/>
              <a:gd name="connsiteY2" fmla="*/ 4462577 h 4462577"/>
              <a:gd name="connsiteX3" fmla="*/ 0 w 4323122"/>
              <a:gd name="connsiteY3" fmla="*/ 4462577 h 4462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3122" h="4462577">
                <a:moveTo>
                  <a:pt x="0" y="0"/>
                </a:moveTo>
                <a:lnTo>
                  <a:pt x="4323122" y="0"/>
                </a:lnTo>
                <a:lnTo>
                  <a:pt x="4323122" y="4462577"/>
                </a:lnTo>
                <a:lnTo>
                  <a:pt x="0" y="4462577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889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316D0-E74A-9547-BE4F-19DCE942A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EC433D-261D-B649-B338-F1C0AF80CA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0465A3-72B3-804D-BFCB-CA77C0C640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1E68F5-D2D5-F949-B4A5-F2BC176009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F40A62-BA97-9445-8618-C0295642A0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089600-15AF-854D-8BBE-FA205FA7A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12EAA7-B74F-E049-89BF-0144BFAA2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8E846E-D55A-5C4F-8AD7-D490634E3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126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FC8466-4D91-4081-9614-D54867AD45DB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616449" y="2109787"/>
            <a:ext cx="1771188" cy="2638425"/>
          </a:xfrm>
          <a:custGeom>
            <a:avLst/>
            <a:gdLst>
              <a:gd name="connsiteX0" fmla="*/ 209665 w 3542838"/>
              <a:gd name="connsiteY0" fmla="*/ 0 h 5276850"/>
              <a:gd name="connsiteX1" fmla="*/ 3542838 w 3542838"/>
              <a:gd name="connsiteY1" fmla="*/ 0 h 5276850"/>
              <a:gd name="connsiteX2" fmla="*/ 3542838 w 3542838"/>
              <a:gd name="connsiteY2" fmla="*/ 5276850 h 5276850"/>
              <a:gd name="connsiteX3" fmla="*/ 209665 w 3542838"/>
              <a:gd name="connsiteY3" fmla="*/ 5276850 h 5276850"/>
              <a:gd name="connsiteX4" fmla="*/ 0 w 3542838"/>
              <a:gd name="connsiteY4" fmla="*/ 5067185 h 5276850"/>
              <a:gd name="connsiteX5" fmla="*/ 0 w 3542838"/>
              <a:gd name="connsiteY5" fmla="*/ 209665 h 5276850"/>
              <a:gd name="connsiteX6" fmla="*/ 209665 w 3542838"/>
              <a:gd name="connsiteY6" fmla="*/ 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2838" h="5276850">
                <a:moveTo>
                  <a:pt x="209665" y="0"/>
                </a:moveTo>
                <a:lnTo>
                  <a:pt x="3542838" y="0"/>
                </a:lnTo>
                <a:lnTo>
                  <a:pt x="3542838" y="5276850"/>
                </a:lnTo>
                <a:lnTo>
                  <a:pt x="209665" y="5276850"/>
                </a:lnTo>
                <a:cubicBezTo>
                  <a:pt x="93870" y="5276850"/>
                  <a:pt x="0" y="5182980"/>
                  <a:pt x="0" y="5067185"/>
                </a:cubicBezTo>
                <a:lnTo>
                  <a:pt x="0" y="209665"/>
                </a:lnTo>
                <a:cubicBezTo>
                  <a:pt x="0" y="93870"/>
                  <a:pt x="93870" y="0"/>
                  <a:pt x="20966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207F9A3-6479-498F-A7BB-11A1850BAFB5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054729" y="2109787"/>
            <a:ext cx="1771188" cy="2638425"/>
          </a:xfrm>
          <a:custGeom>
            <a:avLst/>
            <a:gdLst>
              <a:gd name="connsiteX0" fmla="*/ 209665 w 3542838"/>
              <a:gd name="connsiteY0" fmla="*/ 0 h 5276850"/>
              <a:gd name="connsiteX1" fmla="*/ 3542838 w 3542838"/>
              <a:gd name="connsiteY1" fmla="*/ 0 h 5276850"/>
              <a:gd name="connsiteX2" fmla="*/ 3542838 w 3542838"/>
              <a:gd name="connsiteY2" fmla="*/ 5276850 h 5276850"/>
              <a:gd name="connsiteX3" fmla="*/ 209665 w 3542838"/>
              <a:gd name="connsiteY3" fmla="*/ 5276850 h 5276850"/>
              <a:gd name="connsiteX4" fmla="*/ 0 w 3542838"/>
              <a:gd name="connsiteY4" fmla="*/ 5067185 h 5276850"/>
              <a:gd name="connsiteX5" fmla="*/ 0 w 3542838"/>
              <a:gd name="connsiteY5" fmla="*/ 209665 h 5276850"/>
              <a:gd name="connsiteX6" fmla="*/ 209665 w 3542838"/>
              <a:gd name="connsiteY6" fmla="*/ 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2838" h="5276850">
                <a:moveTo>
                  <a:pt x="209665" y="0"/>
                </a:moveTo>
                <a:lnTo>
                  <a:pt x="3542838" y="0"/>
                </a:lnTo>
                <a:lnTo>
                  <a:pt x="3542838" y="5276850"/>
                </a:lnTo>
                <a:lnTo>
                  <a:pt x="209665" y="5276850"/>
                </a:lnTo>
                <a:cubicBezTo>
                  <a:pt x="93870" y="5276850"/>
                  <a:pt x="0" y="5182980"/>
                  <a:pt x="0" y="5067185"/>
                </a:cubicBezTo>
                <a:lnTo>
                  <a:pt x="0" y="209665"/>
                </a:lnTo>
                <a:cubicBezTo>
                  <a:pt x="0" y="93870"/>
                  <a:pt x="93870" y="0"/>
                  <a:pt x="209665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BAB1F9-7C8A-468F-82D4-DEFBACE1C6ED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93009" y="2109787"/>
            <a:ext cx="1771188" cy="2638425"/>
          </a:xfrm>
          <a:custGeom>
            <a:avLst/>
            <a:gdLst>
              <a:gd name="connsiteX0" fmla="*/ 209666 w 3542838"/>
              <a:gd name="connsiteY0" fmla="*/ 0 h 5276850"/>
              <a:gd name="connsiteX1" fmla="*/ 3542838 w 3542838"/>
              <a:gd name="connsiteY1" fmla="*/ 0 h 5276850"/>
              <a:gd name="connsiteX2" fmla="*/ 3542838 w 3542838"/>
              <a:gd name="connsiteY2" fmla="*/ 5276850 h 5276850"/>
              <a:gd name="connsiteX3" fmla="*/ 209666 w 3542838"/>
              <a:gd name="connsiteY3" fmla="*/ 5276850 h 5276850"/>
              <a:gd name="connsiteX4" fmla="*/ 0 w 3542838"/>
              <a:gd name="connsiteY4" fmla="*/ 5067185 h 5276850"/>
              <a:gd name="connsiteX5" fmla="*/ 0 w 3542838"/>
              <a:gd name="connsiteY5" fmla="*/ 209665 h 5276850"/>
              <a:gd name="connsiteX6" fmla="*/ 209666 w 3542838"/>
              <a:gd name="connsiteY6" fmla="*/ 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2838" h="5276850">
                <a:moveTo>
                  <a:pt x="209666" y="0"/>
                </a:moveTo>
                <a:lnTo>
                  <a:pt x="3542838" y="0"/>
                </a:lnTo>
                <a:lnTo>
                  <a:pt x="3542838" y="5276850"/>
                </a:lnTo>
                <a:lnTo>
                  <a:pt x="209666" y="5276850"/>
                </a:lnTo>
                <a:cubicBezTo>
                  <a:pt x="93870" y="5276850"/>
                  <a:pt x="0" y="5182980"/>
                  <a:pt x="0" y="5067185"/>
                </a:cubicBezTo>
                <a:lnTo>
                  <a:pt x="0" y="209665"/>
                </a:lnTo>
                <a:cubicBezTo>
                  <a:pt x="0" y="93870"/>
                  <a:pt x="93870" y="0"/>
                  <a:pt x="209666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54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accel="20000" decel="8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accel="20000" decel="8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BF420BA-1B7B-44F6-8DF9-6D1682186149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4706455" y="1728210"/>
            <a:ext cx="1994370" cy="3401581"/>
          </a:xfrm>
          <a:custGeom>
            <a:avLst/>
            <a:gdLst>
              <a:gd name="connsiteX0" fmla="*/ 236084 w 3989259"/>
              <a:gd name="connsiteY0" fmla="*/ 0 h 6803161"/>
              <a:gd name="connsiteX1" fmla="*/ 3989258 w 3989259"/>
              <a:gd name="connsiteY1" fmla="*/ 0 h 6803161"/>
              <a:gd name="connsiteX2" fmla="*/ 3989259 w 3989259"/>
              <a:gd name="connsiteY2" fmla="*/ 6803161 h 6803161"/>
              <a:gd name="connsiteX3" fmla="*/ 236085 w 3989259"/>
              <a:gd name="connsiteY3" fmla="*/ 6803161 h 6803161"/>
              <a:gd name="connsiteX4" fmla="*/ 1 w 3989259"/>
              <a:gd name="connsiteY4" fmla="*/ 6567077 h 6803161"/>
              <a:gd name="connsiteX5" fmla="*/ 0 w 3989259"/>
              <a:gd name="connsiteY5" fmla="*/ 236084 h 6803161"/>
              <a:gd name="connsiteX6" fmla="*/ 236084 w 3989259"/>
              <a:gd name="connsiteY6" fmla="*/ 0 h 6803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9259" h="6803161">
                <a:moveTo>
                  <a:pt x="236084" y="0"/>
                </a:moveTo>
                <a:lnTo>
                  <a:pt x="3989258" y="0"/>
                </a:lnTo>
                <a:lnTo>
                  <a:pt x="3989259" y="6803161"/>
                </a:lnTo>
                <a:lnTo>
                  <a:pt x="236085" y="6803161"/>
                </a:lnTo>
                <a:cubicBezTo>
                  <a:pt x="105699" y="6803161"/>
                  <a:pt x="1" y="6697463"/>
                  <a:pt x="1" y="6567077"/>
                </a:cubicBezTo>
                <a:lnTo>
                  <a:pt x="0" y="236084"/>
                </a:lnTo>
                <a:cubicBezTo>
                  <a:pt x="0" y="105698"/>
                  <a:pt x="105698" y="0"/>
                  <a:pt x="236084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073F600-3C57-480A-8BA2-99E742B8E4CA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700824" y="1728210"/>
            <a:ext cx="1994369" cy="3401581"/>
          </a:xfrm>
          <a:custGeom>
            <a:avLst/>
            <a:gdLst>
              <a:gd name="connsiteX0" fmla="*/ 0 w 3989258"/>
              <a:gd name="connsiteY0" fmla="*/ 0 h 6803161"/>
              <a:gd name="connsiteX1" fmla="*/ 3989258 w 3989258"/>
              <a:gd name="connsiteY1" fmla="*/ 0 h 6803161"/>
              <a:gd name="connsiteX2" fmla="*/ 3989258 w 3989258"/>
              <a:gd name="connsiteY2" fmla="*/ 6803161 h 6803161"/>
              <a:gd name="connsiteX3" fmla="*/ 0 w 3989258"/>
              <a:gd name="connsiteY3" fmla="*/ 6803161 h 6803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9258" h="6803161">
                <a:moveTo>
                  <a:pt x="0" y="0"/>
                </a:moveTo>
                <a:lnTo>
                  <a:pt x="3989258" y="0"/>
                </a:lnTo>
                <a:lnTo>
                  <a:pt x="3989258" y="6803161"/>
                </a:lnTo>
                <a:lnTo>
                  <a:pt x="0" y="680316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53DFD88-9016-4C0A-AADC-CB2354FB87B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695193" y="1728210"/>
            <a:ext cx="1994369" cy="3401581"/>
          </a:xfrm>
          <a:custGeom>
            <a:avLst/>
            <a:gdLst>
              <a:gd name="connsiteX0" fmla="*/ 0 w 3989258"/>
              <a:gd name="connsiteY0" fmla="*/ 0 h 6803161"/>
              <a:gd name="connsiteX1" fmla="*/ 3989258 w 3989258"/>
              <a:gd name="connsiteY1" fmla="*/ 0 h 6803161"/>
              <a:gd name="connsiteX2" fmla="*/ 3989258 w 3989258"/>
              <a:gd name="connsiteY2" fmla="*/ 6803161 h 6803161"/>
              <a:gd name="connsiteX3" fmla="*/ 0 w 3989258"/>
              <a:gd name="connsiteY3" fmla="*/ 6803161 h 6803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9258" h="6803161">
                <a:moveTo>
                  <a:pt x="0" y="0"/>
                </a:moveTo>
                <a:lnTo>
                  <a:pt x="3989258" y="0"/>
                </a:lnTo>
                <a:lnTo>
                  <a:pt x="3989258" y="6803161"/>
                </a:lnTo>
                <a:lnTo>
                  <a:pt x="0" y="680316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034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20000" decel="8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accel="20000" decel="8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accel="20000" decel="8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36069-3FA8-4810-B96A-21A25AE1ABD8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4949852" y="1728210"/>
            <a:ext cx="1890884" cy="3401581"/>
          </a:xfrm>
          <a:custGeom>
            <a:avLst/>
            <a:gdLst>
              <a:gd name="connsiteX0" fmla="*/ 223834 w 3782260"/>
              <a:gd name="connsiteY0" fmla="*/ 0 h 6803161"/>
              <a:gd name="connsiteX1" fmla="*/ 3782260 w 3782260"/>
              <a:gd name="connsiteY1" fmla="*/ 0 h 6803161"/>
              <a:gd name="connsiteX2" fmla="*/ 3782260 w 3782260"/>
              <a:gd name="connsiteY2" fmla="*/ 6803161 h 6803161"/>
              <a:gd name="connsiteX3" fmla="*/ 223834 w 3782260"/>
              <a:gd name="connsiteY3" fmla="*/ 6803161 h 6803161"/>
              <a:gd name="connsiteX4" fmla="*/ 0 w 3782260"/>
              <a:gd name="connsiteY4" fmla="*/ 6579327 h 6803161"/>
              <a:gd name="connsiteX5" fmla="*/ 0 w 3782260"/>
              <a:gd name="connsiteY5" fmla="*/ 223834 h 6803161"/>
              <a:gd name="connsiteX6" fmla="*/ 223834 w 3782260"/>
              <a:gd name="connsiteY6" fmla="*/ 0 h 6803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2260" h="6803161">
                <a:moveTo>
                  <a:pt x="223834" y="0"/>
                </a:moveTo>
                <a:lnTo>
                  <a:pt x="3782260" y="0"/>
                </a:lnTo>
                <a:lnTo>
                  <a:pt x="3782260" y="6803161"/>
                </a:lnTo>
                <a:lnTo>
                  <a:pt x="223834" y="6803161"/>
                </a:lnTo>
                <a:cubicBezTo>
                  <a:pt x="100214" y="6803161"/>
                  <a:pt x="0" y="6702947"/>
                  <a:pt x="0" y="6579327"/>
                </a:cubicBezTo>
                <a:lnTo>
                  <a:pt x="0" y="223834"/>
                </a:lnTo>
                <a:cubicBezTo>
                  <a:pt x="0" y="100213"/>
                  <a:pt x="100214" y="0"/>
                  <a:pt x="223834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888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20000" decel="8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C0668B7-08DE-4125-BEA7-47E9BC9B357E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990465" y="2275939"/>
            <a:ext cx="2847604" cy="3600986"/>
          </a:xfrm>
          <a:custGeom>
            <a:avLst/>
            <a:gdLst>
              <a:gd name="connsiteX0" fmla="*/ 0 w 5695950"/>
              <a:gd name="connsiteY0" fmla="*/ 0 h 7201972"/>
              <a:gd name="connsiteX1" fmla="*/ 5695950 w 5695950"/>
              <a:gd name="connsiteY1" fmla="*/ 0 h 7201972"/>
              <a:gd name="connsiteX2" fmla="*/ 5695950 w 5695950"/>
              <a:gd name="connsiteY2" fmla="*/ 7201972 h 7201972"/>
              <a:gd name="connsiteX3" fmla="*/ 0 w 5695950"/>
              <a:gd name="connsiteY3" fmla="*/ 7201972 h 7201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95950" h="7201972">
                <a:moveTo>
                  <a:pt x="0" y="0"/>
                </a:moveTo>
                <a:lnTo>
                  <a:pt x="5695950" y="0"/>
                </a:lnTo>
                <a:lnTo>
                  <a:pt x="5695950" y="7201972"/>
                </a:lnTo>
                <a:lnTo>
                  <a:pt x="0" y="7201972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557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64BA9AA-D2D9-48E2-A4AC-F8DB8F8D1747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4557913" y="1495425"/>
            <a:ext cx="3076174" cy="5362575"/>
          </a:xfrm>
          <a:custGeom>
            <a:avLst/>
            <a:gdLst>
              <a:gd name="connsiteX0" fmla="*/ 0 w 6153150"/>
              <a:gd name="connsiteY0" fmla="*/ 0 h 10725150"/>
              <a:gd name="connsiteX1" fmla="*/ 6153150 w 6153150"/>
              <a:gd name="connsiteY1" fmla="*/ 0 h 10725150"/>
              <a:gd name="connsiteX2" fmla="*/ 6153150 w 6153150"/>
              <a:gd name="connsiteY2" fmla="*/ 10725150 h 10725150"/>
              <a:gd name="connsiteX3" fmla="*/ 0 w 6153150"/>
              <a:gd name="connsiteY3" fmla="*/ 10725150 h 1072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53150" h="10725150">
                <a:moveTo>
                  <a:pt x="0" y="0"/>
                </a:moveTo>
                <a:lnTo>
                  <a:pt x="6153150" y="0"/>
                </a:lnTo>
                <a:lnTo>
                  <a:pt x="6153150" y="10725150"/>
                </a:lnTo>
                <a:lnTo>
                  <a:pt x="0" y="107251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374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64BA9AA-D2D9-48E2-A4AC-F8DB8F8D1747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7291232" y="0"/>
            <a:ext cx="3076174" cy="6858000"/>
          </a:xfrm>
          <a:custGeom>
            <a:avLst/>
            <a:gdLst>
              <a:gd name="connsiteX0" fmla="*/ 0 w 6153150"/>
              <a:gd name="connsiteY0" fmla="*/ 0 h 10725150"/>
              <a:gd name="connsiteX1" fmla="*/ 6153150 w 6153150"/>
              <a:gd name="connsiteY1" fmla="*/ 0 h 10725150"/>
              <a:gd name="connsiteX2" fmla="*/ 6153150 w 6153150"/>
              <a:gd name="connsiteY2" fmla="*/ 10725150 h 10725150"/>
              <a:gd name="connsiteX3" fmla="*/ 0 w 6153150"/>
              <a:gd name="connsiteY3" fmla="*/ 10725150 h 1072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53150" h="10725150">
                <a:moveTo>
                  <a:pt x="0" y="0"/>
                </a:moveTo>
                <a:lnTo>
                  <a:pt x="6153150" y="0"/>
                </a:lnTo>
                <a:lnTo>
                  <a:pt x="6153150" y="10725150"/>
                </a:lnTo>
                <a:lnTo>
                  <a:pt x="0" y="107251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638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DD12AA5B-0161-439B-AFE7-EBA424A716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38237" y="1991032"/>
            <a:ext cx="2875561" cy="2875936"/>
          </a:xfrm>
          <a:custGeom>
            <a:avLst/>
            <a:gdLst>
              <a:gd name="connsiteX0" fmla="*/ 0 w 5751871"/>
              <a:gd name="connsiteY0" fmla="*/ 0 h 5751871"/>
              <a:gd name="connsiteX1" fmla="*/ 5751871 w 5751871"/>
              <a:gd name="connsiteY1" fmla="*/ 0 h 5751871"/>
              <a:gd name="connsiteX2" fmla="*/ 5751871 w 5751871"/>
              <a:gd name="connsiteY2" fmla="*/ 5751871 h 5751871"/>
              <a:gd name="connsiteX3" fmla="*/ 0 w 5751871"/>
              <a:gd name="connsiteY3" fmla="*/ 5751871 h 5751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51871" h="5751871">
                <a:moveTo>
                  <a:pt x="0" y="0"/>
                </a:moveTo>
                <a:lnTo>
                  <a:pt x="5751871" y="0"/>
                </a:lnTo>
                <a:lnTo>
                  <a:pt x="5751871" y="5751871"/>
                </a:lnTo>
                <a:lnTo>
                  <a:pt x="0" y="575187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2752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206E1CF-DC84-4C15-A75B-49139321C2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86100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77B2A9EB-3EF9-441D-9BFF-C67FDD9FAB6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32571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1A6328E-DB01-4117-84BA-487C9D7B8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79042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6825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032791E2-7C84-4B1E-B519-D479D358150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10313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EFE3955B-D042-4EFC-9100-27AA1B2032F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101456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950AE628-F62C-4449-9B98-2FB211369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2600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69A875FD-7EFD-47AE-B810-35705ED63F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34716" y="2257425"/>
            <a:ext cx="1926859" cy="1704975"/>
          </a:xfrm>
          <a:custGeom>
            <a:avLst/>
            <a:gdLst>
              <a:gd name="connsiteX0" fmla="*/ 0 w 3854219"/>
              <a:gd name="connsiteY0" fmla="*/ 0 h 3409950"/>
              <a:gd name="connsiteX1" fmla="*/ 3854219 w 3854219"/>
              <a:gd name="connsiteY1" fmla="*/ 0 h 3409950"/>
              <a:gd name="connsiteX2" fmla="*/ 3854219 w 3854219"/>
              <a:gd name="connsiteY2" fmla="*/ 3409950 h 3409950"/>
              <a:gd name="connsiteX3" fmla="*/ 0 w 3854219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9" h="3409950">
                <a:moveTo>
                  <a:pt x="0" y="0"/>
                </a:moveTo>
                <a:lnTo>
                  <a:pt x="3854219" y="0"/>
                </a:lnTo>
                <a:lnTo>
                  <a:pt x="3854219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2F2F9939-CBE5-4747-8C5D-922FDC1C1CF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76831" y="2257425"/>
            <a:ext cx="1926858" cy="1704975"/>
          </a:xfrm>
          <a:custGeom>
            <a:avLst/>
            <a:gdLst>
              <a:gd name="connsiteX0" fmla="*/ 0 w 3854218"/>
              <a:gd name="connsiteY0" fmla="*/ 0 h 3409950"/>
              <a:gd name="connsiteX1" fmla="*/ 3854218 w 3854218"/>
              <a:gd name="connsiteY1" fmla="*/ 0 h 3409950"/>
              <a:gd name="connsiteX2" fmla="*/ 3854218 w 3854218"/>
              <a:gd name="connsiteY2" fmla="*/ 3409950 h 3409950"/>
              <a:gd name="connsiteX3" fmla="*/ 0 w 3854218"/>
              <a:gd name="connsiteY3" fmla="*/ 3409950 h 340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4218" h="3409950">
                <a:moveTo>
                  <a:pt x="0" y="0"/>
                </a:moveTo>
                <a:lnTo>
                  <a:pt x="3854218" y="0"/>
                </a:lnTo>
                <a:lnTo>
                  <a:pt x="3854218" y="3409950"/>
                </a:lnTo>
                <a:lnTo>
                  <a:pt x="0" y="34099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2599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26184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1916F-B9D0-494B-A943-16EED7016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9338A4-270A-C049-A470-9275828FE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BC96E1-395D-6543-8683-974F8DAB7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4BF6BD-AC9B-904D-9C16-D538B9877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56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lIns="0" tIns="91440" rIns="0" bIns="1463040" anchor="b"/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573335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2088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0313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470400" y="0"/>
            <a:ext cx="3251200" cy="6858000"/>
          </a:xfrm>
          <a:custGeom>
            <a:avLst/>
            <a:gdLst>
              <a:gd name="connsiteX0" fmla="*/ 0 w 2438400"/>
              <a:gd name="connsiteY0" fmla="*/ 0 h 5143500"/>
              <a:gd name="connsiteX1" fmla="*/ 2438400 w 2438400"/>
              <a:gd name="connsiteY1" fmla="*/ 0 h 5143500"/>
              <a:gd name="connsiteX2" fmla="*/ 2438400 w 2438400"/>
              <a:gd name="connsiteY2" fmla="*/ 5143500 h 5143500"/>
              <a:gd name="connsiteX3" fmla="*/ 0 w 24384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8400" h="5143500">
                <a:moveTo>
                  <a:pt x="0" y="0"/>
                </a:moveTo>
                <a:lnTo>
                  <a:pt x="2438400" y="0"/>
                </a:lnTo>
                <a:lnTo>
                  <a:pt x="24384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3200952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819400"/>
            <a:ext cx="12192000" cy="1930400"/>
          </a:xfrm>
          <a:custGeom>
            <a:avLst/>
            <a:gdLst>
              <a:gd name="connsiteX0" fmla="*/ 0 w 2438400"/>
              <a:gd name="connsiteY0" fmla="*/ 0 h 5143500"/>
              <a:gd name="connsiteX1" fmla="*/ 2438400 w 2438400"/>
              <a:gd name="connsiteY1" fmla="*/ 0 h 5143500"/>
              <a:gd name="connsiteX2" fmla="*/ 2438400 w 2438400"/>
              <a:gd name="connsiteY2" fmla="*/ 5143500 h 5143500"/>
              <a:gd name="connsiteX3" fmla="*/ 0 w 24384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8400" h="5143500">
                <a:moveTo>
                  <a:pt x="0" y="0"/>
                </a:moveTo>
                <a:lnTo>
                  <a:pt x="2438400" y="0"/>
                </a:lnTo>
                <a:lnTo>
                  <a:pt x="24384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305099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33399" y="0"/>
            <a:ext cx="2527300" cy="6858000"/>
          </a:xfrm>
          <a:custGeom>
            <a:avLst/>
            <a:gdLst>
              <a:gd name="connsiteX0" fmla="*/ 0 w 2438400"/>
              <a:gd name="connsiteY0" fmla="*/ 0 h 5143500"/>
              <a:gd name="connsiteX1" fmla="*/ 2438400 w 2438400"/>
              <a:gd name="connsiteY1" fmla="*/ 0 h 5143500"/>
              <a:gd name="connsiteX2" fmla="*/ 2438400 w 2438400"/>
              <a:gd name="connsiteY2" fmla="*/ 5143500 h 5143500"/>
              <a:gd name="connsiteX3" fmla="*/ 0 w 24384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8400" h="5143500">
                <a:moveTo>
                  <a:pt x="0" y="0"/>
                </a:moveTo>
                <a:lnTo>
                  <a:pt x="2438400" y="0"/>
                </a:lnTo>
                <a:lnTo>
                  <a:pt x="24384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1091885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30909" y="2646099"/>
            <a:ext cx="3025091" cy="2607837"/>
          </a:xfrm>
          <a:custGeom>
            <a:avLst/>
            <a:gdLst>
              <a:gd name="connsiteX0" fmla="*/ 0 w 2268818"/>
              <a:gd name="connsiteY0" fmla="*/ 0 h 1955878"/>
              <a:gd name="connsiteX1" fmla="*/ 2268818 w 2268818"/>
              <a:gd name="connsiteY1" fmla="*/ 0 h 1955878"/>
              <a:gd name="connsiteX2" fmla="*/ 1134409 w 2268818"/>
              <a:gd name="connsiteY2" fmla="*/ 1955878 h 195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68818" h="1955878">
                <a:moveTo>
                  <a:pt x="0" y="0"/>
                </a:moveTo>
                <a:lnTo>
                  <a:pt x="2268818" y="0"/>
                </a:lnTo>
                <a:lnTo>
                  <a:pt x="1134409" y="1955878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tIns="0" bIns="13716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3556176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538742" y="897886"/>
            <a:ext cx="5062229" cy="5062229"/>
          </a:xfrm>
          <a:custGeom>
            <a:avLst/>
            <a:gdLst>
              <a:gd name="connsiteX0" fmla="*/ 1898336 w 3796672"/>
              <a:gd name="connsiteY0" fmla="*/ 0 h 3796672"/>
              <a:gd name="connsiteX1" fmla="*/ 3796672 w 3796672"/>
              <a:gd name="connsiteY1" fmla="*/ 1898336 h 3796672"/>
              <a:gd name="connsiteX2" fmla="*/ 1898336 w 3796672"/>
              <a:gd name="connsiteY2" fmla="*/ 3796672 h 3796672"/>
              <a:gd name="connsiteX3" fmla="*/ 0 w 3796672"/>
              <a:gd name="connsiteY3" fmla="*/ 1898336 h 37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96672" h="3796672">
                <a:moveTo>
                  <a:pt x="1898336" y="0"/>
                </a:moveTo>
                <a:lnTo>
                  <a:pt x="3796672" y="1898336"/>
                </a:lnTo>
                <a:lnTo>
                  <a:pt x="1898336" y="3796672"/>
                </a:lnTo>
                <a:lnTo>
                  <a:pt x="0" y="1898336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tIns="0" bIns="13716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1037888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6596104" y="897886"/>
            <a:ext cx="5062229" cy="5062229"/>
          </a:xfrm>
          <a:custGeom>
            <a:avLst/>
            <a:gdLst>
              <a:gd name="connsiteX0" fmla="*/ 1898336 w 3796672"/>
              <a:gd name="connsiteY0" fmla="*/ 0 h 3796672"/>
              <a:gd name="connsiteX1" fmla="*/ 3796672 w 3796672"/>
              <a:gd name="connsiteY1" fmla="*/ 1898336 h 3796672"/>
              <a:gd name="connsiteX2" fmla="*/ 1898336 w 3796672"/>
              <a:gd name="connsiteY2" fmla="*/ 3796672 h 3796672"/>
              <a:gd name="connsiteX3" fmla="*/ 0 w 3796672"/>
              <a:gd name="connsiteY3" fmla="*/ 1898336 h 37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96672" h="3796672">
                <a:moveTo>
                  <a:pt x="1898336" y="0"/>
                </a:moveTo>
                <a:lnTo>
                  <a:pt x="3796672" y="1898336"/>
                </a:lnTo>
                <a:lnTo>
                  <a:pt x="1898336" y="3796672"/>
                </a:lnTo>
                <a:lnTo>
                  <a:pt x="0" y="1898336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tIns="0" bIns="13716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48904115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833889" y="1685222"/>
            <a:ext cx="4173963" cy="3598245"/>
          </a:xfrm>
          <a:custGeom>
            <a:avLst/>
            <a:gdLst>
              <a:gd name="connsiteX0" fmla="*/ 1819072 w 3638144"/>
              <a:gd name="connsiteY0" fmla="*/ 0 h 3136332"/>
              <a:gd name="connsiteX1" fmla="*/ 3638144 w 3638144"/>
              <a:gd name="connsiteY1" fmla="*/ 3136332 h 3136332"/>
              <a:gd name="connsiteX2" fmla="*/ 0 w 3638144"/>
              <a:gd name="connsiteY2" fmla="*/ 3136332 h 313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38144" h="3136332">
                <a:moveTo>
                  <a:pt x="1819072" y="0"/>
                </a:moveTo>
                <a:lnTo>
                  <a:pt x="3638144" y="3136332"/>
                </a:lnTo>
                <a:lnTo>
                  <a:pt x="0" y="3136332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tIns="0" bIns="6400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125371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FA44A5-5FB3-874D-BE23-77D481BC8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ABAF72-EF6C-2C49-AC5C-45A4714114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0C3FE4-B20A-CF4D-80DC-E6137DE0F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3259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670571" y="1338112"/>
            <a:ext cx="4850859" cy="4181776"/>
          </a:xfrm>
          <a:custGeom>
            <a:avLst/>
            <a:gdLst>
              <a:gd name="connsiteX0" fmla="*/ 1819072 w 3638144"/>
              <a:gd name="connsiteY0" fmla="*/ 0 h 3136332"/>
              <a:gd name="connsiteX1" fmla="*/ 3638144 w 3638144"/>
              <a:gd name="connsiteY1" fmla="*/ 3136332 h 3136332"/>
              <a:gd name="connsiteX2" fmla="*/ 0 w 3638144"/>
              <a:gd name="connsiteY2" fmla="*/ 3136332 h 313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38144" h="3136332">
                <a:moveTo>
                  <a:pt x="1819072" y="0"/>
                </a:moveTo>
                <a:lnTo>
                  <a:pt x="3638144" y="3136332"/>
                </a:lnTo>
                <a:lnTo>
                  <a:pt x="0" y="3136332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wrap="square" tIns="0" bIns="6400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5006066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6"/>
          <p:cNvSpPr>
            <a:spLocks noGrp="1"/>
          </p:cNvSpPr>
          <p:nvPr>
            <p:ph type="pic" sz="quarter" idx="29" hasCustomPrompt="1"/>
          </p:nvPr>
        </p:nvSpPr>
        <p:spPr>
          <a:xfrm>
            <a:off x="4203697" y="368300"/>
            <a:ext cx="3784603" cy="3784603"/>
          </a:xfrm>
          <a:prstGeom prst="diamond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txBody>
          <a:bodyPr wrap="square" tIns="0" bIns="1828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5117918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 hasCustomPrompt="1"/>
          </p:nvPr>
        </p:nvSpPr>
        <p:spPr>
          <a:xfrm>
            <a:off x="3383280" y="542699"/>
            <a:ext cx="5425440" cy="2900669"/>
          </a:xfrm>
          <a:custGeom>
            <a:avLst/>
            <a:gdLst>
              <a:gd name="connsiteX0" fmla="*/ 1597794 w 3195588"/>
              <a:gd name="connsiteY0" fmla="*/ 0 h 2292808"/>
              <a:gd name="connsiteX1" fmla="*/ 3195588 w 3195588"/>
              <a:gd name="connsiteY1" fmla="*/ 2292808 h 2292808"/>
              <a:gd name="connsiteX2" fmla="*/ 0 w 3195588"/>
              <a:gd name="connsiteY2" fmla="*/ 2292808 h 2292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5588" h="2292808">
                <a:moveTo>
                  <a:pt x="1597794" y="0"/>
                </a:moveTo>
                <a:lnTo>
                  <a:pt x="3195588" y="2292808"/>
                </a:lnTo>
                <a:lnTo>
                  <a:pt x="0" y="229280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txBody>
          <a:bodyPr wrap="square" tIns="0" bIns="1828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18140175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4644309" y="603183"/>
            <a:ext cx="2903379" cy="3314837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6400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8135262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3383280" y="1272263"/>
            <a:ext cx="5425440" cy="2900669"/>
          </a:xfrm>
          <a:custGeom>
            <a:avLst/>
            <a:gdLst>
              <a:gd name="connsiteX0" fmla="*/ 2034540 w 4069080"/>
              <a:gd name="connsiteY0" fmla="*/ 0 h 2175502"/>
              <a:gd name="connsiteX1" fmla="*/ 4069080 w 4069080"/>
              <a:gd name="connsiteY1" fmla="*/ 2175502 h 2175502"/>
              <a:gd name="connsiteX2" fmla="*/ 0 w 4069080"/>
              <a:gd name="connsiteY2" fmla="*/ 2175502 h 2175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69080" h="2175502">
                <a:moveTo>
                  <a:pt x="2034540" y="0"/>
                </a:moveTo>
                <a:lnTo>
                  <a:pt x="4069080" y="2175502"/>
                </a:lnTo>
                <a:lnTo>
                  <a:pt x="0" y="21755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txBody>
          <a:bodyPr wrap="square" tIns="0" bIns="1828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7250394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235741"/>
            <a:ext cx="5812052" cy="1524000"/>
          </a:xfrm>
          <a:custGeom>
            <a:avLst/>
            <a:gdLst>
              <a:gd name="connsiteX0" fmla="*/ 0 w 4359039"/>
              <a:gd name="connsiteY0" fmla="*/ 0 h 1143000"/>
              <a:gd name="connsiteX1" fmla="*/ 4359039 w 4359039"/>
              <a:gd name="connsiteY1" fmla="*/ 0 h 1143000"/>
              <a:gd name="connsiteX2" fmla="*/ 3597579 w 4359039"/>
              <a:gd name="connsiteY2" fmla="*/ 1143000 h 1143000"/>
              <a:gd name="connsiteX3" fmla="*/ 0 w 4359039"/>
              <a:gd name="connsiteY3" fmla="*/ 114300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9039" h="1143000">
                <a:moveTo>
                  <a:pt x="0" y="0"/>
                </a:moveTo>
                <a:lnTo>
                  <a:pt x="4359039" y="0"/>
                </a:lnTo>
                <a:lnTo>
                  <a:pt x="3597579" y="1143000"/>
                </a:lnTo>
                <a:lnTo>
                  <a:pt x="0" y="1143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06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379950" y="1397000"/>
            <a:ext cx="5812052" cy="1524000"/>
          </a:xfrm>
          <a:custGeom>
            <a:avLst/>
            <a:gdLst>
              <a:gd name="connsiteX0" fmla="*/ 761460 w 4359039"/>
              <a:gd name="connsiteY0" fmla="*/ 0 h 1143000"/>
              <a:gd name="connsiteX1" fmla="*/ 4359039 w 4359039"/>
              <a:gd name="connsiteY1" fmla="*/ 0 h 1143000"/>
              <a:gd name="connsiteX2" fmla="*/ 4359039 w 4359039"/>
              <a:gd name="connsiteY2" fmla="*/ 1143000 h 1143000"/>
              <a:gd name="connsiteX3" fmla="*/ 0 w 4359039"/>
              <a:gd name="connsiteY3" fmla="*/ 114300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9039" h="1143000">
                <a:moveTo>
                  <a:pt x="761460" y="0"/>
                </a:moveTo>
                <a:lnTo>
                  <a:pt x="4359039" y="0"/>
                </a:lnTo>
                <a:lnTo>
                  <a:pt x="4359039" y="1143000"/>
                </a:lnTo>
                <a:lnTo>
                  <a:pt x="0" y="1143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06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9621161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9"/>
            <a:ext cx="6908800" cy="6858007"/>
          </a:xfrm>
          <a:custGeom>
            <a:avLst/>
            <a:gdLst>
              <a:gd name="connsiteX0" fmla="*/ 0 w 5181600"/>
              <a:gd name="connsiteY0" fmla="*/ 0 h 5143505"/>
              <a:gd name="connsiteX1" fmla="*/ 5181600 w 5181600"/>
              <a:gd name="connsiteY1" fmla="*/ 0 h 5143505"/>
              <a:gd name="connsiteX2" fmla="*/ 0 w 5181600"/>
              <a:gd name="connsiteY2" fmla="*/ 5143505 h 514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81600" h="5143505">
                <a:moveTo>
                  <a:pt x="0" y="0"/>
                </a:moveTo>
                <a:lnTo>
                  <a:pt x="5181600" y="0"/>
                </a:lnTo>
                <a:lnTo>
                  <a:pt x="0" y="5143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371600" anchor="b">
            <a:noAutofit/>
          </a:bodyPr>
          <a:lstStyle>
            <a:lvl1pPr algn="ctr" rtl="0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8416017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5283200" y="-9"/>
            <a:ext cx="6908800" cy="6858007"/>
          </a:xfrm>
          <a:custGeom>
            <a:avLst/>
            <a:gdLst>
              <a:gd name="connsiteX0" fmla="*/ 0 w 5181600"/>
              <a:gd name="connsiteY0" fmla="*/ 0 h 5143505"/>
              <a:gd name="connsiteX1" fmla="*/ 5181600 w 5181600"/>
              <a:gd name="connsiteY1" fmla="*/ 0 h 5143505"/>
              <a:gd name="connsiteX2" fmla="*/ 5181600 w 5181600"/>
              <a:gd name="connsiteY2" fmla="*/ 5143505 h 514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81600" h="5143505">
                <a:moveTo>
                  <a:pt x="0" y="0"/>
                </a:moveTo>
                <a:lnTo>
                  <a:pt x="5181600" y="0"/>
                </a:lnTo>
                <a:lnTo>
                  <a:pt x="5181600" y="5143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1828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9985979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816775" y="3051420"/>
            <a:ext cx="4534872" cy="3806579"/>
          </a:xfrm>
          <a:custGeom>
            <a:avLst/>
            <a:gdLst>
              <a:gd name="connsiteX0" fmla="*/ 1922834 w 3845668"/>
              <a:gd name="connsiteY0" fmla="*/ 0 h 2854934"/>
              <a:gd name="connsiteX1" fmla="*/ 3845668 w 3845668"/>
              <a:gd name="connsiteY1" fmla="*/ 2854934 h 2854934"/>
              <a:gd name="connsiteX2" fmla="*/ 1922834 w 3845668"/>
              <a:gd name="connsiteY2" fmla="*/ 2854934 h 2854934"/>
              <a:gd name="connsiteX3" fmla="*/ 0 w 3845668"/>
              <a:gd name="connsiteY3" fmla="*/ 2854934 h 2854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5668" h="2854934">
                <a:moveTo>
                  <a:pt x="1922834" y="0"/>
                </a:moveTo>
                <a:lnTo>
                  <a:pt x="3845668" y="2854934"/>
                </a:lnTo>
                <a:lnTo>
                  <a:pt x="1922834" y="2854934"/>
                </a:lnTo>
                <a:lnTo>
                  <a:pt x="0" y="28549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9144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81995" y="1"/>
            <a:ext cx="4454645" cy="3806577"/>
          </a:xfrm>
          <a:custGeom>
            <a:avLst/>
            <a:gdLst>
              <a:gd name="connsiteX0" fmla="*/ 0 w 3845668"/>
              <a:gd name="connsiteY0" fmla="*/ 0 h 2854933"/>
              <a:gd name="connsiteX1" fmla="*/ 3845668 w 3845668"/>
              <a:gd name="connsiteY1" fmla="*/ 0 h 2854933"/>
              <a:gd name="connsiteX2" fmla="*/ 1922834 w 3845668"/>
              <a:gd name="connsiteY2" fmla="*/ 2854933 h 285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5668" h="2854933">
                <a:moveTo>
                  <a:pt x="0" y="0"/>
                </a:moveTo>
                <a:lnTo>
                  <a:pt x="3845668" y="0"/>
                </a:lnTo>
                <a:lnTo>
                  <a:pt x="1922834" y="28549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9144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5000732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7112000" y="3051420"/>
            <a:ext cx="4534872" cy="3806579"/>
          </a:xfrm>
          <a:custGeom>
            <a:avLst/>
            <a:gdLst>
              <a:gd name="connsiteX0" fmla="*/ 1922834 w 3845668"/>
              <a:gd name="connsiteY0" fmla="*/ 0 h 2854934"/>
              <a:gd name="connsiteX1" fmla="*/ 3845668 w 3845668"/>
              <a:gd name="connsiteY1" fmla="*/ 2854934 h 2854934"/>
              <a:gd name="connsiteX2" fmla="*/ 1922834 w 3845668"/>
              <a:gd name="connsiteY2" fmla="*/ 2854934 h 2854934"/>
              <a:gd name="connsiteX3" fmla="*/ 0 w 3845668"/>
              <a:gd name="connsiteY3" fmla="*/ 2854934 h 2854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5668" h="2854934">
                <a:moveTo>
                  <a:pt x="1922834" y="0"/>
                </a:moveTo>
                <a:lnTo>
                  <a:pt x="3845668" y="2854934"/>
                </a:lnTo>
                <a:lnTo>
                  <a:pt x="1922834" y="2854934"/>
                </a:lnTo>
                <a:lnTo>
                  <a:pt x="0" y="28549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9144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299200" y="1"/>
            <a:ext cx="4454645" cy="3806577"/>
          </a:xfrm>
          <a:custGeom>
            <a:avLst/>
            <a:gdLst>
              <a:gd name="connsiteX0" fmla="*/ 0 w 3845668"/>
              <a:gd name="connsiteY0" fmla="*/ 0 h 2854933"/>
              <a:gd name="connsiteX1" fmla="*/ 3845668 w 3845668"/>
              <a:gd name="connsiteY1" fmla="*/ 0 h 2854933"/>
              <a:gd name="connsiteX2" fmla="*/ 1922834 w 3845668"/>
              <a:gd name="connsiteY2" fmla="*/ 2854933 h 285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5668" h="2854933">
                <a:moveTo>
                  <a:pt x="0" y="0"/>
                </a:moveTo>
                <a:lnTo>
                  <a:pt x="3845668" y="0"/>
                </a:lnTo>
                <a:lnTo>
                  <a:pt x="1922834" y="28549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91440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68245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A5A1E-DD0D-9445-AF39-0EA6D1E6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043633-7E31-8446-B1F7-A535244F7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175B53-7F0D-B34D-BAEF-C7A50F652B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C5815B-B595-324A-8083-210A031C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5FB603-15A3-DB4A-B5A1-94F3D2B20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A6A825-0A9C-E444-81DD-711B9FF42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0691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04802" y="-19247"/>
            <a:ext cx="4391260" cy="6896496"/>
          </a:xfrm>
          <a:custGeom>
            <a:avLst/>
            <a:gdLst>
              <a:gd name="connsiteX0" fmla="*/ 3293445 w 3293445"/>
              <a:gd name="connsiteY0" fmla="*/ 0 h 5172372"/>
              <a:gd name="connsiteX1" fmla="*/ 3293445 w 3293445"/>
              <a:gd name="connsiteY1" fmla="*/ 2586186 h 5172372"/>
              <a:gd name="connsiteX2" fmla="*/ 3293445 w 3293445"/>
              <a:gd name="connsiteY2" fmla="*/ 5172372 h 5172372"/>
              <a:gd name="connsiteX3" fmla="*/ 0 w 3293445"/>
              <a:gd name="connsiteY3" fmla="*/ 2586186 h 5172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93445" h="5172372">
                <a:moveTo>
                  <a:pt x="3293445" y="0"/>
                </a:moveTo>
                <a:lnTo>
                  <a:pt x="3293445" y="2586186"/>
                </a:lnTo>
                <a:lnTo>
                  <a:pt x="3293445" y="5172372"/>
                </a:lnTo>
                <a:lnTo>
                  <a:pt x="0" y="25861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365760" tIns="0" rIns="0" bIns="192024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9"/>
            <a:ext cx="4324952" cy="3429004"/>
          </a:xfrm>
          <a:custGeom>
            <a:avLst/>
            <a:gdLst>
              <a:gd name="connsiteX0" fmla="*/ 0 w 3243714"/>
              <a:gd name="connsiteY0" fmla="*/ 0 h 2571753"/>
              <a:gd name="connsiteX1" fmla="*/ 3243714 w 3243714"/>
              <a:gd name="connsiteY1" fmla="*/ 0 h 2571753"/>
              <a:gd name="connsiteX2" fmla="*/ 0 w 3243714"/>
              <a:gd name="connsiteY2" fmla="*/ 2571753 h 257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3714" h="2571753">
                <a:moveTo>
                  <a:pt x="0" y="0"/>
                </a:moveTo>
                <a:lnTo>
                  <a:pt x="3243714" y="0"/>
                </a:lnTo>
                <a:lnTo>
                  <a:pt x="0" y="25717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rIns="1188720" bIns="192024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2" hasCustomPrompt="1"/>
          </p:nvPr>
        </p:nvSpPr>
        <p:spPr>
          <a:xfrm>
            <a:off x="-1" y="3428997"/>
            <a:ext cx="4324952" cy="3429004"/>
          </a:xfrm>
          <a:custGeom>
            <a:avLst/>
            <a:gdLst>
              <a:gd name="connsiteX0" fmla="*/ 0 w 3243714"/>
              <a:gd name="connsiteY0" fmla="*/ 0 h 2571753"/>
              <a:gd name="connsiteX1" fmla="*/ 3243714 w 3243714"/>
              <a:gd name="connsiteY1" fmla="*/ 2571753 h 2571753"/>
              <a:gd name="connsiteX2" fmla="*/ 0 w 3243714"/>
              <a:gd name="connsiteY2" fmla="*/ 2571753 h 257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3714" h="2571753">
                <a:moveTo>
                  <a:pt x="0" y="0"/>
                </a:moveTo>
                <a:lnTo>
                  <a:pt x="3243714" y="2571753"/>
                </a:lnTo>
                <a:lnTo>
                  <a:pt x="0" y="25717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91440" tIns="0" rIns="118872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4227788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7518401" y="-19247"/>
            <a:ext cx="4391260" cy="6896496"/>
          </a:xfrm>
          <a:custGeom>
            <a:avLst/>
            <a:gdLst>
              <a:gd name="connsiteX0" fmla="*/ 0 w 3293445"/>
              <a:gd name="connsiteY0" fmla="*/ 0 h 5172372"/>
              <a:gd name="connsiteX1" fmla="*/ 3293445 w 3293445"/>
              <a:gd name="connsiteY1" fmla="*/ 2586186 h 5172372"/>
              <a:gd name="connsiteX2" fmla="*/ 0 w 3293445"/>
              <a:gd name="connsiteY2" fmla="*/ 5172372 h 5172372"/>
              <a:gd name="connsiteX3" fmla="*/ 0 w 3293445"/>
              <a:gd name="connsiteY3" fmla="*/ 2586186 h 5172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93445" h="5172372">
                <a:moveTo>
                  <a:pt x="0" y="0"/>
                </a:moveTo>
                <a:lnTo>
                  <a:pt x="3293445" y="2586186"/>
                </a:lnTo>
                <a:lnTo>
                  <a:pt x="0" y="5172372"/>
                </a:lnTo>
                <a:lnTo>
                  <a:pt x="0" y="25861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867047" y="-9"/>
            <a:ext cx="4324952" cy="3429004"/>
          </a:xfrm>
          <a:custGeom>
            <a:avLst/>
            <a:gdLst>
              <a:gd name="connsiteX0" fmla="*/ 0 w 3243714"/>
              <a:gd name="connsiteY0" fmla="*/ 0 h 2571753"/>
              <a:gd name="connsiteX1" fmla="*/ 3243714 w 3243714"/>
              <a:gd name="connsiteY1" fmla="*/ 0 h 2571753"/>
              <a:gd name="connsiteX2" fmla="*/ 3243714 w 3243714"/>
              <a:gd name="connsiteY2" fmla="*/ 2571753 h 257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3714" h="2571753">
                <a:moveTo>
                  <a:pt x="0" y="0"/>
                </a:moveTo>
                <a:lnTo>
                  <a:pt x="3243714" y="0"/>
                </a:lnTo>
                <a:lnTo>
                  <a:pt x="3243714" y="25717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867047" y="3428997"/>
            <a:ext cx="4324952" cy="3429004"/>
          </a:xfrm>
          <a:custGeom>
            <a:avLst/>
            <a:gdLst>
              <a:gd name="connsiteX0" fmla="*/ 3243714 w 3243714"/>
              <a:gd name="connsiteY0" fmla="*/ 0 h 2571753"/>
              <a:gd name="connsiteX1" fmla="*/ 3243714 w 3243714"/>
              <a:gd name="connsiteY1" fmla="*/ 2571753 h 2571753"/>
              <a:gd name="connsiteX2" fmla="*/ 0 w 3243714"/>
              <a:gd name="connsiteY2" fmla="*/ 2571753 h 257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3714" h="2571753">
                <a:moveTo>
                  <a:pt x="3243714" y="0"/>
                </a:moveTo>
                <a:lnTo>
                  <a:pt x="3243714" y="2571753"/>
                </a:lnTo>
                <a:lnTo>
                  <a:pt x="0" y="25717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32333953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1693337" y="7874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3955101" y="11938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6216865" y="7874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8478629" y="11938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8605732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557370" y="7874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2819134" y="11938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080898" y="787400"/>
            <a:ext cx="2020039" cy="4876800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4593537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3427378" y="0"/>
            <a:ext cx="8764621" cy="6858000"/>
          </a:xfrm>
          <a:custGeom>
            <a:avLst/>
            <a:gdLst>
              <a:gd name="connsiteX0" fmla="*/ 3426573 w 6573466"/>
              <a:gd name="connsiteY0" fmla="*/ 0 h 5143500"/>
              <a:gd name="connsiteX1" fmla="*/ 4064960 w 6573466"/>
              <a:gd name="connsiteY1" fmla="*/ 0 h 5143500"/>
              <a:gd name="connsiteX2" fmla="*/ 4382311 w 6573466"/>
              <a:gd name="connsiteY2" fmla="*/ 0 h 5143500"/>
              <a:gd name="connsiteX3" fmla="*/ 4680650 w 6573466"/>
              <a:gd name="connsiteY3" fmla="*/ 0 h 5143500"/>
              <a:gd name="connsiteX4" fmla="*/ 5020698 w 6573466"/>
              <a:gd name="connsiteY4" fmla="*/ 0 h 5143500"/>
              <a:gd name="connsiteX5" fmla="*/ 5288250 w 6573466"/>
              <a:gd name="connsiteY5" fmla="*/ 0 h 5143500"/>
              <a:gd name="connsiteX6" fmla="*/ 5617728 w 6573466"/>
              <a:gd name="connsiteY6" fmla="*/ 0 h 5143500"/>
              <a:gd name="connsiteX7" fmla="*/ 5636388 w 6573466"/>
              <a:gd name="connsiteY7" fmla="*/ 0 h 5143500"/>
              <a:gd name="connsiteX8" fmla="*/ 6243988 w 6573466"/>
              <a:gd name="connsiteY8" fmla="*/ 0 h 5143500"/>
              <a:gd name="connsiteX9" fmla="*/ 6573466 w 6573466"/>
              <a:gd name="connsiteY9" fmla="*/ 0 h 5143500"/>
              <a:gd name="connsiteX10" fmla="*/ 3146893 w 6573466"/>
              <a:gd name="connsiteY10" fmla="*/ 5143500 h 5143500"/>
              <a:gd name="connsiteX11" fmla="*/ 2817415 w 6573466"/>
              <a:gd name="connsiteY11" fmla="*/ 5143500 h 5143500"/>
              <a:gd name="connsiteX12" fmla="*/ 2209815 w 6573466"/>
              <a:gd name="connsiteY12" fmla="*/ 5143500 h 5143500"/>
              <a:gd name="connsiteX13" fmla="*/ 2191155 w 6573466"/>
              <a:gd name="connsiteY13" fmla="*/ 5143500 h 5143500"/>
              <a:gd name="connsiteX14" fmla="*/ 1861677 w 6573466"/>
              <a:gd name="connsiteY14" fmla="*/ 5143500 h 5143500"/>
              <a:gd name="connsiteX15" fmla="*/ 1594125 w 6573466"/>
              <a:gd name="connsiteY15" fmla="*/ 5143500 h 5143500"/>
              <a:gd name="connsiteX16" fmla="*/ 1254077 w 6573466"/>
              <a:gd name="connsiteY16" fmla="*/ 5143500 h 5143500"/>
              <a:gd name="connsiteX17" fmla="*/ 955738 w 6573466"/>
              <a:gd name="connsiteY17" fmla="*/ 5143500 h 5143500"/>
              <a:gd name="connsiteX18" fmla="*/ 638387 w 6573466"/>
              <a:gd name="connsiteY18" fmla="*/ 5143500 h 5143500"/>
              <a:gd name="connsiteX19" fmla="*/ 0 w 6573466"/>
              <a:gd name="connsiteY19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73466" h="5143500">
                <a:moveTo>
                  <a:pt x="3426573" y="0"/>
                </a:moveTo>
                <a:lnTo>
                  <a:pt x="4064960" y="0"/>
                </a:lnTo>
                <a:lnTo>
                  <a:pt x="4382311" y="0"/>
                </a:lnTo>
                <a:lnTo>
                  <a:pt x="4680650" y="0"/>
                </a:lnTo>
                <a:lnTo>
                  <a:pt x="5020698" y="0"/>
                </a:lnTo>
                <a:lnTo>
                  <a:pt x="5288250" y="0"/>
                </a:lnTo>
                <a:lnTo>
                  <a:pt x="5617728" y="0"/>
                </a:lnTo>
                <a:lnTo>
                  <a:pt x="5636388" y="0"/>
                </a:lnTo>
                <a:lnTo>
                  <a:pt x="6243988" y="0"/>
                </a:lnTo>
                <a:lnTo>
                  <a:pt x="6573466" y="0"/>
                </a:lnTo>
                <a:lnTo>
                  <a:pt x="3146893" y="5143500"/>
                </a:lnTo>
                <a:lnTo>
                  <a:pt x="2817415" y="5143500"/>
                </a:lnTo>
                <a:lnTo>
                  <a:pt x="2209815" y="5143500"/>
                </a:lnTo>
                <a:lnTo>
                  <a:pt x="2191155" y="5143500"/>
                </a:lnTo>
                <a:lnTo>
                  <a:pt x="1861677" y="5143500"/>
                </a:lnTo>
                <a:lnTo>
                  <a:pt x="1594125" y="5143500"/>
                </a:lnTo>
                <a:lnTo>
                  <a:pt x="1254077" y="5143500"/>
                </a:lnTo>
                <a:lnTo>
                  <a:pt x="955738" y="5143500"/>
                </a:lnTo>
                <a:lnTo>
                  <a:pt x="63838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rIns="3017520" bIns="27432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8181988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8764621" cy="6858000"/>
          </a:xfrm>
          <a:custGeom>
            <a:avLst/>
            <a:gdLst>
              <a:gd name="connsiteX0" fmla="*/ 3426573 w 6573466"/>
              <a:gd name="connsiteY0" fmla="*/ 0 h 5143500"/>
              <a:gd name="connsiteX1" fmla="*/ 4064960 w 6573466"/>
              <a:gd name="connsiteY1" fmla="*/ 0 h 5143500"/>
              <a:gd name="connsiteX2" fmla="*/ 4382311 w 6573466"/>
              <a:gd name="connsiteY2" fmla="*/ 0 h 5143500"/>
              <a:gd name="connsiteX3" fmla="*/ 4680650 w 6573466"/>
              <a:gd name="connsiteY3" fmla="*/ 0 h 5143500"/>
              <a:gd name="connsiteX4" fmla="*/ 5020698 w 6573466"/>
              <a:gd name="connsiteY4" fmla="*/ 0 h 5143500"/>
              <a:gd name="connsiteX5" fmla="*/ 5288250 w 6573466"/>
              <a:gd name="connsiteY5" fmla="*/ 0 h 5143500"/>
              <a:gd name="connsiteX6" fmla="*/ 5617728 w 6573466"/>
              <a:gd name="connsiteY6" fmla="*/ 0 h 5143500"/>
              <a:gd name="connsiteX7" fmla="*/ 5636388 w 6573466"/>
              <a:gd name="connsiteY7" fmla="*/ 0 h 5143500"/>
              <a:gd name="connsiteX8" fmla="*/ 6243988 w 6573466"/>
              <a:gd name="connsiteY8" fmla="*/ 0 h 5143500"/>
              <a:gd name="connsiteX9" fmla="*/ 6573466 w 6573466"/>
              <a:gd name="connsiteY9" fmla="*/ 0 h 5143500"/>
              <a:gd name="connsiteX10" fmla="*/ 3146893 w 6573466"/>
              <a:gd name="connsiteY10" fmla="*/ 5143500 h 5143500"/>
              <a:gd name="connsiteX11" fmla="*/ 2817415 w 6573466"/>
              <a:gd name="connsiteY11" fmla="*/ 5143500 h 5143500"/>
              <a:gd name="connsiteX12" fmla="*/ 2209815 w 6573466"/>
              <a:gd name="connsiteY12" fmla="*/ 5143500 h 5143500"/>
              <a:gd name="connsiteX13" fmla="*/ 2191155 w 6573466"/>
              <a:gd name="connsiteY13" fmla="*/ 5143500 h 5143500"/>
              <a:gd name="connsiteX14" fmla="*/ 1861677 w 6573466"/>
              <a:gd name="connsiteY14" fmla="*/ 5143500 h 5143500"/>
              <a:gd name="connsiteX15" fmla="*/ 1594125 w 6573466"/>
              <a:gd name="connsiteY15" fmla="*/ 5143500 h 5143500"/>
              <a:gd name="connsiteX16" fmla="*/ 1254077 w 6573466"/>
              <a:gd name="connsiteY16" fmla="*/ 5143500 h 5143500"/>
              <a:gd name="connsiteX17" fmla="*/ 955738 w 6573466"/>
              <a:gd name="connsiteY17" fmla="*/ 5143500 h 5143500"/>
              <a:gd name="connsiteX18" fmla="*/ 638387 w 6573466"/>
              <a:gd name="connsiteY18" fmla="*/ 5143500 h 5143500"/>
              <a:gd name="connsiteX19" fmla="*/ 0 w 6573466"/>
              <a:gd name="connsiteY19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73466" h="5143500">
                <a:moveTo>
                  <a:pt x="3426573" y="0"/>
                </a:moveTo>
                <a:lnTo>
                  <a:pt x="4064960" y="0"/>
                </a:lnTo>
                <a:lnTo>
                  <a:pt x="4382311" y="0"/>
                </a:lnTo>
                <a:lnTo>
                  <a:pt x="4680650" y="0"/>
                </a:lnTo>
                <a:lnTo>
                  <a:pt x="5020698" y="0"/>
                </a:lnTo>
                <a:lnTo>
                  <a:pt x="5288250" y="0"/>
                </a:lnTo>
                <a:lnTo>
                  <a:pt x="5617728" y="0"/>
                </a:lnTo>
                <a:lnTo>
                  <a:pt x="5636388" y="0"/>
                </a:lnTo>
                <a:lnTo>
                  <a:pt x="6243988" y="0"/>
                </a:lnTo>
                <a:lnTo>
                  <a:pt x="6573466" y="0"/>
                </a:lnTo>
                <a:lnTo>
                  <a:pt x="3146893" y="5143500"/>
                </a:lnTo>
                <a:lnTo>
                  <a:pt x="2817415" y="5143500"/>
                </a:lnTo>
                <a:lnTo>
                  <a:pt x="2209815" y="5143500"/>
                </a:lnTo>
                <a:lnTo>
                  <a:pt x="2191155" y="5143500"/>
                </a:lnTo>
                <a:lnTo>
                  <a:pt x="1861677" y="5143500"/>
                </a:lnTo>
                <a:lnTo>
                  <a:pt x="1594125" y="5143500"/>
                </a:lnTo>
                <a:lnTo>
                  <a:pt x="1254077" y="5143500"/>
                </a:lnTo>
                <a:lnTo>
                  <a:pt x="955738" y="5143500"/>
                </a:lnTo>
                <a:lnTo>
                  <a:pt x="63838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rIns="3017520" bIns="27432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234544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08001" y="1841499"/>
            <a:ext cx="11157817" cy="229870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tIns="0" bIns="182880" anchor="b"/>
          <a:lstStyle>
            <a:lvl1pPr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749514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515296" y="374427"/>
            <a:ext cx="3970369" cy="1622987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671334" y="2600408"/>
            <a:ext cx="3970369" cy="1622987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515296" y="4843440"/>
            <a:ext cx="3970369" cy="1622987"/>
          </a:xfrm>
          <a:custGeom>
            <a:avLst/>
            <a:gdLst>
              <a:gd name="connsiteX0" fmla="*/ 0 w 1515029"/>
              <a:gd name="connsiteY0" fmla="*/ 0 h 3657600"/>
              <a:gd name="connsiteX1" fmla="*/ 1515029 w 1515029"/>
              <a:gd name="connsiteY1" fmla="*/ 0 h 3657600"/>
              <a:gd name="connsiteX2" fmla="*/ 1515029 w 1515029"/>
              <a:gd name="connsiteY2" fmla="*/ 3657600 h 3657600"/>
              <a:gd name="connsiteX3" fmla="*/ 0 w 1515029"/>
              <a:gd name="connsiteY3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5029" h="3657600">
                <a:moveTo>
                  <a:pt x="0" y="0"/>
                </a:moveTo>
                <a:lnTo>
                  <a:pt x="1515029" y="0"/>
                </a:lnTo>
                <a:lnTo>
                  <a:pt x="1515029" y="3657600"/>
                </a:lnTo>
                <a:lnTo>
                  <a:pt x="0" y="3657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5941152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08001" y="4064267"/>
            <a:ext cx="11157817" cy="229870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tIns="0" bIns="182880" anchor="b"/>
          <a:lstStyle>
            <a:lvl1pPr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924602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082139"/>
            <a:ext cx="12192000" cy="1293261"/>
          </a:xfrm>
          <a:custGeom>
            <a:avLst/>
            <a:gdLst>
              <a:gd name="connsiteX0" fmla="*/ 0 w 2438400"/>
              <a:gd name="connsiteY0" fmla="*/ 0 h 5143500"/>
              <a:gd name="connsiteX1" fmla="*/ 2438400 w 2438400"/>
              <a:gd name="connsiteY1" fmla="*/ 0 h 5143500"/>
              <a:gd name="connsiteX2" fmla="*/ 2438400 w 2438400"/>
              <a:gd name="connsiteY2" fmla="*/ 5143500 h 5143500"/>
              <a:gd name="connsiteX3" fmla="*/ 0 w 243840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8400" h="5143500">
                <a:moveTo>
                  <a:pt x="0" y="0"/>
                </a:moveTo>
                <a:lnTo>
                  <a:pt x="2438400" y="0"/>
                </a:lnTo>
                <a:lnTo>
                  <a:pt x="24384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tIns="0" bIns="182880" anchor="b">
            <a:noAutofit/>
          </a:bodyPr>
          <a:lstStyle>
            <a:lvl1pPr algn="ctr">
              <a:buNone/>
              <a:defRPr sz="1333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926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4F0E7-CFD5-9043-BB33-FED50D6F3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473FBA0-9779-FC43-A827-B889594056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1C334C-4C45-E846-ADB3-71F71A3388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48B794-DE1A-FB45-9FB6-33CA8FBE9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575FE9-1807-F444-BA04-69C9DB2ED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6DFFE0-5116-754A-B499-E0BC92C78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2120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1028641" y="1890130"/>
            <a:ext cx="2447336" cy="2794165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6400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1" hasCustomPrompt="1"/>
          </p:nvPr>
        </p:nvSpPr>
        <p:spPr>
          <a:xfrm>
            <a:off x="4872332" y="1890130"/>
            <a:ext cx="2447336" cy="2794165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6400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8685005" y="1890130"/>
            <a:ext cx="2447336" cy="2794165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6400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60602283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566287" y="1701800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1" hasCustomPrompt="1"/>
          </p:nvPr>
        </p:nvSpPr>
        <p:spPr>
          <a:xfrm>
            <a:off x="3741371" y="1701800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6916455" y="1701800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33" hasCustomPrompt="1"/>
          </p:nvPr>
        </p:nvSpPr>
        <p:spPr>
          <a:xfrm>
            <a:off x="10091539" y="1701800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566287" y="4127367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5" hasCustomPrompt="1"/>
          </p:nvPr>
        </p:nvSpPr>
        <p:spPr>
          <a:xfrm>
            <a:off x="3741371" y="4127367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36" hasCustomPrompt="1"/>
          </p:nvPr>
        </p:nvSpPr>
        <p:spPr>
          <a:xfrm>
            <a:off x="6916455" y="4127367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37" hasCustomPrompt="1"/>
          </p:nvPr>
        </p:nvSpPr>
        <p:spPr>
          <a:xfrm>
            <a:off x="10091539" y="4127367"/>
            <a:ext cx="1515992" cy="1730832"/>
          </a:xfrm>
          <a:custGeom>
            <a:avLst/>
            <a:gdLst>
              <a:gd name="connsiteX0" fmla="*/ 1088767 w 2177534"/>
              <a:gd name="connsiteY0" fmla="*/ 0 h 2486128"/>
              <a:gd name="connsiteX1" fmla="*/ 2177534 w 2177534"/>
              <a:gd name="connsiteY1" fmla="*/ 611822 h 2486128"/>
              <a:gd name="connsiteX2" fmla="*/ 2177534 w 2177534"/>
              <a:gd name="connsiteY2" fmla="*/ 1874306 h 2486128"/>
              <a:gd name="connsiteX3" fmla="*/ 1088767 w 2177534"/>
              <a:gd name="connsiteY3" fmla="*/ 2486128 h 2486128"/>
              <a:gd name="connsiteX4" fmla="*/ 0 w 2177534"/>
              <a:gd name="connsiteY4" fmla="*/ 1874306 h 2486128"/>
              <a:gd name="connsiteX5" fmla="*/ 0 w 2177534"/>
              <a:gd name="connsiteY5" fmla="*/ 611822 h 24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77534" h="2486128">
                <a:moveTo>
                  <a:pt x="1088767" y="0"/>
                </a:moveTo>
                <a:lnTo>
                  <a:pt x="2177534" y="611822"/>
                </a:lnTo>
                <a:lnTo>
                  <a:pt x="2177534" y="1874306"/>
                </a:lnTo>
                <a:lnTo>
                  <a:pt x="1088767" y="2486128"/>
                </a:lnTo>
                <a:lnTo>
                  <a:pt x="0" y="1874306"/>
                </a:lnTo>
                <a:lnTo>
                  <a:pt x="0" y="6118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365760" anchor="b">
            <a:noAutofit/>
          </a:bodyPr>
          <a:lstStyle>
            <a:lvl1pPr algn="ctr" rtl="0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10737028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34" hasCustomPrompt="1"/>
          </p:nvPr>
        </p:nvSpPr>
        <p:spPr>
          <a:xfrm>
            <a:off x="0" y="1"/>
            <a:ext cx="5105400" cy="6857999"/>
          </a:xfrm>
          <a:custGeom>
            <a:avLst/>
            <a:gdLst>
              <a:gd name="connsiteX0" fmla="*/ 0 w 4229100"/>
              <a:gd name="connsiteY0" fmla="*/ 0 h 5143499"/>
              <a:gd name="connsiteX1" fmla="*/ 2959889 w 4229100"/>
              <a:gd name="connsiteY1" fmla="*/ 0 h 5143499"/>
              <a:gd name="connsiteX2" fmla="*/ 4229100 w 4229100"/>
              <a:gd name="connsiteY2" fmla="*/ 1942799 h 5143499"/>
              <a:gd name="connsiteX3" fmla="*/ 2138113 w 4229100"/>
              <a:gd name="connsiteY3" fmla="*/ 5143498 h 5143499"/>
              <a:gd name="connsiteX4" fmla="*/ 1292974 w 4229100"/>
              <a:gd name="connsiteY4" fmla="*/ 5143498 h 5143499"/>
              <a:gd name="connsiteX5" fmla="*/ 1292974 w 4229100"/>
              <a:gd name="connsiteY5" fmla="*/ 5143499 h 5143499"/>
              <a:gd name="connsiteX6" fmla="*/ 1272309 w 4229100"/>
              <a:gd name="connsiteY6" fmla="*/ 5143499 h 5143499"/>
              <a:gd name="connsiteX7" fmla="*/ 200891 w 4229100"/>
              <a:gd name="connsiteY7" fmla="*/ 5143499 h 5143499"/>
              <a:gd name="connsiteX8" fmla="*/ 0 w 4229100"/>
              <a:gd name="connsiteY8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29100" h="5143499">
                <a:moveTo>
                  <a:pt x="0" y="0"/>
                </a:moveTo>
                <a:lnTo>
                  <a:pt x="2959889" y="0"/>
                </a:lnTo>
                <a:lnTo>
                  <a:pt x="4229100" y="1942799"/>
                </a:lnTo>
                <a:lnTo>
                  <a:pt x="2138113" y="5143498"/>
                </a:lnTo>
                <a:lnTo>
                  <a:pt x="1292974" y="5143498"/>
                </a:lnTo>
                <a:lnTo>
                  <a:pt x="1292974" y="5143499"/>
                </a:lnTo>
                <a:lnTo>
                  <a:pt x="1272309" y="5143499"/>
                </a:lnTo>
                <a:lnTo>
                  <a:pt x="200891" y="5143499"/>
                </a:lnTo>
                <a:lnTo>
                  <a:pt x="0" y="51434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rIns="1280160" bIns="365760" anchor="b">
            <a:noAutofit/>
          </a:bodyPr>
          <a:lstStyle>
            <a:lvl1pPr algn="ctr" rtl="0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7556517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29" hasCustomPrompt="1"/>
          </p:nvPr>
        </p:nvSpPr>
        <p:spPr>
          <a:xfrm>
            <a:off x="7086600" y="1"/>
            <a:ext cx="5105400" cy="6857999"/>
          </a:xfrm>
          <a:custGeom>
            <a:avLst/>
            <a:gdLst>
              <a:gd name="connsiteX0" fmla="*/ 1149150 w 3829050"/>
              <a:gd name="connsiteY0" fmla="*/ 0 h 5143499"/>
              <a:gd name="connsiteX1" fmla="*/ 3829050 w 3829050"/>
              <a:gd name="connsiteY1" fmla="*/ 0 h 5143499"/>
              <a:gd name="connsiteX2" fmla="*/ 3829050 w 3829050"/>
              <a:gd name="connsiteY2" fmla="*/ 5143499 h 5143499"/>
              <a:gd name="connsiteX3" fmla="*/ 3647162 w 3829050"/>
              <a:gd name="connsiteY3" fmla="*/ 5143499 h 5143499"/>
              <a:gd name="connsiteX4" fmla="*/ 2677094 w 3829050"/>
              <a:gd name="connsiteY4" fmla="*/ 5143499 h 5143499"/>
              <a:gd name="connsiteX5" fmla="*/ 2658384 w 3829050"/>
              <a:gd name="connsiteY5" fmla="*/ 5143499 h 5143499"/>
              <a:gd name="connsiteX6" fmla="*/ 2658384 w 3829050"/>
              <a:gd name="connsiteY6" fmla="*/ 5143498 h 5143499"/>
              <a:gd name="connsiteX7" fmla="*/ 1893191 w 3829050"/>
              <a:gd name="connsiteY7" fmla="*/ 5143498 h 5143499"/>
              <a:gd name="connsiteX8" fmla="*/ 0 w 3829050"/>
              <a:gd name="connsiteY8" fmla="*/ 19427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9050" h="5143499">
                <a:moveTo>
                  <a:pt x="1149150" y="0"/>
                </a:moveTo>
                <a:lnTo>
                  <a:pt x="3829050" y="0"/>
                </a:lnTo>
                <a:lnTo>
                  <a:pt x="3829050" y="5143499"/>
                </a:lnTo>
                <a:lnTo>
                  <a:pt x="3647162" y="5143499"/>
                </a:lnTo>
                <a:lnTo>
                  <a:pt x="2677094" y="5143499"/>
                </a:lnTo>
                <a:lnTo>
                  <a:pt x="2658384" y="5143499"/>
                </a:lnTo>
                <a:lnTo>
                  <a:pt x="2658384" y="5143498"/>
                </a:lnTo>
                <a:lnTo>
                  <a:pt x="1893191" y="5143498"/>
                </a:lnTo>
                <a:lnTo>
                  <a:pt x="0" y="19427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tIns="0" bIns="182880" anchor="b">
            <a:noAutofit/>
          </a:bodyPr>
          <a:lstStyle>
            <a:lvl1pPr algn="ctr"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1557626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bIns="45720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1308456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549400" y="1016000"/>
            <a:ext cx="6400800" cy="482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bIns="457200" anchor="b"/>
          <a:lstStyle>
            <a:lvl1pPr algn="ctr" rtl="0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4578529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216400" y="1016000"/>
            <a:ext cx="6400800" cy="482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bIns="457200" anchor="b"/>
          <a:lstStyle>
            <a:lvl1pPr algn="ctr" rtl="0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0559706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bIns="45720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8704024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4775199" y="-1"/>
            <a:ext cx="7416800" cy="6858001"/>
          </a:xfrm>
          <a:custGeom>
            <a:avLst/>
            <a:gdLst>
              <a:gd name="connsiteX0" fmla="*/ 4269626 w 5562600"/>
              <a:gd name="connsiteY0" fmla="*/ 0 h 5143501"/>
              <a:gd name="connsiteX1" fmla="*/ 4290291 w 5562600"/>
              <a:gd name="connsiteY1" fmla="*/ 0 h 5143501"/>
              <a:gd name="connsiteX2" fmla="*/ 5361709 w 5562600"/>
              <a:gd name="connsiteY2" fmla="*/ 0 h 5143501"/>
              <a:gd name="connsiteX3" fmla="*/ 5562600 w 5562600"/>
              <a:gd name="connsiteY3" fmla="*/ 0 h 5143501"/>
              <a:gd name="connsiteX4" fmla="*/ 5562600 w 5562600"/>
              <a:gd name="connsiteY4" fmla="*/ 5143500 h 5143501"/>
              <a:gd name="connsiteX5" fmla="*/ 4724400 w 5562600"/>
              <a:gd name="connsiteY5" fmla="*/ 5143500 h 5143501"/>
              <a:gd name="connsiteX6" fmla="*/ 4724400 w 5562600"/>
              <a:gd name="connsiteY6" fmla="*/ 5143501 h 5143501"/>
              <a:gd name="connsiteX7" fmla="*/ 1676400 w 5562600"/>
              <a:gd name="connsiteY7" fmla="*/ 5143501 h 5143501"/>
              <a:gd name="connsiteX8" fmla="*/ 1676400 w 5562600"/>
              <a:gd name="connsiteY8" fmla="*/ 5140370 h 5143501"/>
              <a:gd name="connsiteX9" fmla="*/ 1594125 w 5562600"/>
              <a:gd name="connsiteY9" fmla="*/ 5140370 h 5143501"/>
              <a:gd name="connsiteX10" fmla="*/ 1254077 w 5562600"/>
              <a:gd name="connsiteY10" fmla="*/ 5140370 h 5143501"/>
              <a:gd name="connsiteX11" fmla="*/ 955738 w 5562600"/>
              <a:gd name="connsiteY11" fmla="*/ 5140370 h 5143501"/>
              <a:gd name="connsiteX12" fmla="*/ 638387 w 5562600"/>
              <a:gd name="connsiteY12" fmla="*/ 5140370 h 5143501"/>
              <a:gd name="connsiteX13" fmla="*/ 0 w 5562600"/>
              <a:gd name="connsiteY13" fmla="*/ 5140370 h 5143501"/>
              <a:gd name="connsiteX14" fmla="*/ 3424487 w 5562600"/>
              <a:gd name="connsiteY14" fmla="*/ 1 h 5143501"/>
              <a:gd name="connsiteX15" fmla="*/ 4269626 w 5562600"/>
              <a:gd name="connsiteY15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62600" h="5143501">
                <a:moveTo>
                  <a:pt x="4269626" y="0"/>
                </a:moveTo>
                <a:lnTo>
                  <a:pt x="4290291" y="0"/>
                </a:lnTo>
                <a:lnTo>
                  <a:pt x="5361709" y="0"/>
                </a:lnTo>
                <a:lnTo>
                  <a:pt x="5562600" y="0"/>
                </a:lnTo>
                <a:lnTo>
                  <a:pt x="5562600" y="5143500"/>
                </a:lnTo>
                <a:lnTo>
                  <a:pt x="4724400" y="5143500"/>
                </a:lnTo>
                <a:lnTo>
                  <a:pt x="4724400" y="5143501"/>
                </a:lnTo>
                <a:lnTo>
                  <a:pt x="1676400" y="5143501"/>
                </a:lnTo>
                <a:lnTo>
                  <a:pt x="1676400" y="5140370"/>
                </a:lnTo>
                <a:lnTo>
                  <a:pt x="1594125" y="5140370"/>
                </a:lnTo>
                <a:lnTo>
                  <a:pt x="1254077" y="5140370"/>
                </a:lnTo>
                <a:lnTo>
                  <a:pt x="955738" y="5140370"/>
                </a:lnTo>
                <a:lnTo>
                  <a:pt x="638387" y="5140370"/>
                </a:lnTo>
                <a:lnTo>
                  <a:pt x="0" y="5140370"/>
                </a:lnTo>
                <a:lnTo>
                  <a:pt x="3424487" y="1"/>
                </a:lnTo>
                <a:lnTo>
                  <a:pt x="4269626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0" tIns="0" rIns="0" bIns="182880" anchor="b">
            <a:noAutofit/>
          </a:bodyPr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1654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5306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tIns="0" bIns="182880" anchor="b"/>
          <a:lstStyle>
            <a:lvl1pPr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40949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theme" Target="../theme/theme6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1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ags" Target="../tags/tag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theme" Target="../theme/theme8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1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6EBC368-0C54-8A41-AB57-A64BE8456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70A17-6471-F64C-B05C-E999601DF0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B39B19-AC96-FD46-9083-477D6AE09B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50FD0C-30CF-BA4D-A580-47F3614A1F7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27C643-6EBC-7644-9F5F-3D4021BC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330E1A-FEB3-0249-8548-C4E31DA0D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41E2E9-1F0F-894F-978A-BD63D4747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62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6" r:id="rId12"/>
    <p:sldLayoutId id="214748372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und"/>
          <p:cNvSpPr/>
          <p:nvPr/>
        </p:nvSpPr>
        <p:spPr>
          <a:xfrm>
            <a:off x="-1" y="0"/>
            <a:ext cx="12203127" cy="5816600"/>
          </a:xfrm>
          <a:prstGeom prst="rect">
            <a:avLst/>
          </a:prstGeom>
          <a:solidFill>
            <a:srgbClr val="262626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pPr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 sz="1800"/>
          </a:p>
        </p:txBody>
      </p:sp>
      <p:sp>
        <p:nvSpPr>
          <p:cNvPr id="3" name="Bar"/>
          <p:cNvSpPr/>
          <p:nvPr/>
        </p:nvSpPr>
        <p:spPr>
          <a:xfrm>
            <a:off x="-1" y="5816599"/>
            <a:ext cx="12203127" cy="1044002"/>
          </a:xfrm>
          <a:prstGeom prst="rect">
            <a:avLst/>
          </a:prstGeom>
          <a:solidFill>
            <a:srgbClr val="EAEAEA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pPr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 sz="1800"/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1056307" y="1"/>
            <a:ext cx="10090512" cy="3744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1056307" y="3744001"/>
            <a:ext cx="10090512" cy="2070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40562" y="6259335"/>
            <a:ext cx="179536" cy="1846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rgbClr val="80808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3292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ransition spd="med"/>
  <p:txStyles>
    <p:titleStyle>
      <a:lvl1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1pPr>
      <a:lvl2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2pPr>
      <a:lvl3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3pPr>
      <a:lvl4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4pPr>
      <a:lvl5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5pPr>
      <a:lvl6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6pPr>
      <a:lvl7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7pPr>
      <a:lvl8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8pPr>
      <a:lvl9pPr marL="0" marR="0" indent="0" algn="l" defTabSz="914400" rtl="0" latinLnBrk="0">
        <a:lnSpc>
          <a:spcPct val="8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solidFill>
            <a:srgbClr val="FFFFFF"/>
          </a:solidFill>
          <a:uFillTx/>
          <a:latin typeface="Bebas Neue"/>
          <a:ea typeface="Bebas Neue"/>
          <a:cs typeface="Bebas Neue"/>
          <a:sym typeface="Bebas Neue"/>
        </a:defRPr>
      </a:lvl9pPr>
    </p:titleStyle>
    <p:bodyStyle>
      <a:lvl1pPr marL="0" marR="0" indent="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4572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914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1371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18288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22860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27432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3200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3657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B2B2B2"/>
          </a:solidFill>
          <a:uFillTx/>
          <a:latin typeface="Calibri Light"/>
          <a:ea typeface="Calibri Light"/>
          <a:cs typeface="Calibri Light"/>
          <a:sym typeface="Calibri Light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1pPr>
      <a:lvl2pPr marL="0" marR="0" indent="457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2pPr>
      <a:lvl3pPr marL="0" marR="0" indent="914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3pPr>
      <a:lvl4pPr marL="0" marR="0" indent="1371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4pPr>
      <a:lvl5pPr marL="0" marR="0" indent="18288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5pPr>
      <a:lvl6pPr marL="0" marR="0" indent="22860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6pPr>
      <a:lvl7pPr marL="0" marR="0" indent="2743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7pPr>
      <a:lvl8pPr marL="0" marR="0" indent="3200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8pPr>
      <a:lvl9pPr marL="0" marR="0" indent="3657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71" y="432000"/>
            <a:ext cx="11111046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468063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930" y="6084000"/>
            <a:ext cx="1440187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7FC3DAB-407D-4279-8EB6-232635B61438}" type="datetimeFigureOut">
              <a:rPr lang="en-US" smtClean="0"/>
              <a:pPr/>
              <a:t>11/7/19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5312" y="6084000"/>
            <a:ext cx="4320563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69" y="6084000"/>
            <a:ext cx="900118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86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577" rtl="0" eaLnBrk="1" latinLnBrk="0" hangingPunct="1">
        <a:lnSpc>
          <a:spcPct val="90000"/>
        </a:lnSpc>
        <a:spcBef>
          <a:spcPct val="0"/>
        </a:spcBef>
        <a:buNone/>
        <a:defRPr sz="359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757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Wingdings" panose="05000000000000000000" pitchFamily="2" charset="2"/>
        <a:buChar char="§"/>
        <a:defRPr sz="2198" kern="1200">
          <a:solidFill>
            <a:schemeClr val="tx1"/>
          </a:solidFill>
          <a:latin typeface="+mn-lt"/>
          <a:ea typeface="+mn-ea"/>
          <a:cs typeface="+mn-cs"/>
        </a:defRPr>
      </a:lvl1pPr>
      <a:lvl2pPr marL="719352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998" kern="1200">
          <a:solidFill>
            <a:schemeClr val="tx1"/>
          </a:solidFill>
          <a:latin typeface="+mn-lt"/>
          <a:ea typeface="+mn-ea"/>
          <a:cs typeface="+mn-cs"/>
        </a:defRPr>
      </a:lvl2pPr>
      <a:lvl3pPr marL="1079028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438704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</a:defRPr>
      </a:lvl4pPr>
      <a:lvl5pPr marL="1798380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337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125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914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702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89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77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66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54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943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731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520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308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389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0" r:id="rId2"/>
    <p:sldLayoutId id="2147483691" r:id="rId3"/>
    <p:sldLayoutId id="2147483854" r:id="rId4"/>
  </p:sldLayoutIdLst>
  <p:hf sldNum="0"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5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F69E9F7-3B7F-4049-A1B1-00106BF68158}"/>
              </a:ext>
            </a:extLst>
          </p:cNvPr>
          <p:cNvGrpSpPr/>
          <p:nvPr userDrawn="1"/>
        </p:nvGrpSpPr>
        <p:grpSpPr>
          <a:xfrm>
            <a:off x="11670299" y="303213"/>
            <a:ext cx="230832" cy="832870"/>
            <a:chOff x="23343637" y="606425"/>
            <a:chExt cx="461724" cy="166573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38964EB-086C-41FF-B3AC-90F671255355}"/>
                </a:ext>
              </a:extLst>
            </p:cNvPr>
            <p:cNvSpPr txBox="1"/>
            <p:nvPr userDrawn="1"/>
          </p:nvSpPr>
          <p:spPr>
            <a:xfrm rot="5400000">
              <a:off x="22929771" y="1396574"/>
              <a:ext cx="1289455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>
                  <a:latin typeface="+mj-lt"/>
                </a:rPr>
                <a:t>Previous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0D87259C-5E46-41DD-962A-40562A8AF43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3574500" y="606425"/>
              <a:ext cx="0" cy="391795"/>
            </a:xfrm>
            <a:prstGeom prst="straightConnector1">
              <a:avLst/>
            </a:prstGeom>
            <a:ln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C9BBE22-2DA0-4B14-BCD2-A9D94A66FF20}"/>
              </a:ext>
            </a:extLst>
          </p:cNvPr>
          <p:cNvGrpSpPr/>
          <p:nvPr userDrawn="1"/>
        </p:nvGrpSpPr>
        <p:grpSpPr>
          <a:xfrm>
            <a:off x="11670300" y="5933927"/>
            <a:ext cx="230832" cy="627105"/>
            <a:chOff x="23405912" y="11634478"/>
            <a:chExt cx="461724" cy="125421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E670FF-5BAA-4A09-8476-371F039A4D05}"/>
                </a:ext>
              </a:extLst>
            </p:cNvPr>
            <p:cNvSpPr txBox="1"/>
            <p:nvPr userDrawn="1"/>
          </p:nvSpPr>
          <p:spPr>
            <a:xfrm rot="16200000" flipV="1">
              <a:off x="23194024" y="11846366"/>
              <a:ext cx="885500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latin typeface="+mj-lt"/>
                </a:rPr>
                <a:t>Next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0486D64F-B234-45AD-AD92-6EEE698F6F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3624072" y="12496893"/>
              <a:ext cx="0" cy="391795"/>
            </a:xfrm>
            <a:prstGeom prst="straightConnector1">
              <a:avLst/>
            </a:prstGeom>
            <a:ln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4616DB4-3AEB-4108-9145-D257C32317DD}"/>
              </a:ext>
            </a:extLst>
          </p:cNvPr>
          <p:cNvSpPr txBox="1">
            <a:spLocks/>
          </p:cNvSpPr>
          <p:nvPr userDrawn="1"/>
        </p:nvSpPr>
        <p:spPr>
          <a:xfrm>
            <a:off x="11429281" y="2589610"/>
            <a:ext cx="712869" cy="1678781"/>
          </a:xfrm>
          <a:prstGeom prst="rect">
            <a:avLst/>
          </a:prstGeom>
        </p:spPr>
        <p:txBody>
          <a:bodyPr vert="horz" wrap="none" lIns="60952" tIns="30476" rIns="60952" bIns="30476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95EBE77-0015-43AC-928E-6D65C631A30C}" type="slidenum">
              <a:rPr lang="en-US" sz="2699" b="0" smtClean="0">
                <a:solidFill>
                  <a:schemeClr val="tx1"/>
                </a:solidFill>
                <a:latin typeface="+mj-lt"/>
              </a:rPr>
              <a:t>‹#›</a:t>
            </a:fld>
            <a:endParaRPr lang="en-US" sz="1800" b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Rectangle 17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1E2971BC-2B97-440E-95F3-64576A47C6FD}"/>
              </a:ext>
            </a:extLst>
          </p:cNvPr>
          <p:cNvSpPr/>
          <p:nvPr userDrawn="1"/>
        </p:nvSpPr>
        <p:spPr>
          <a:xfrm>
            <a:off x="11390913" y="0"/>
            <a:ext cx="801088" cy="1295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Rectangle 18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AFC70DE9-DF01-4E9C-AB54-9A7259700E5E}"/>
              </a:ext>
            </a:extLst>
          </p:cNvPr>
          <p:cNvSpPr/>
          <p:nvPr userDrawn="1"/>
        </p:nvSpPr>
        <p:spPr>
          <a:xfrm>
            <a:off x="11390913" y="5562600"/>
            <a:ext cx="801088" cy="1295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5089433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30000" decel="7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accel="30000" decel="7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accel="30000" decel="7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4" indent="-228554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1">
          <p15:clr>
            <a:srgbClr val="F26B43"/>
          </p15:clr>
        </p15:guide>
        <p15:guide id="3" orient="horz" pos="984">
          <p15:clr>
            <a:srgbClr val="F26B43"/>
          </p15:clr>
        </p15:guide>
        <p15:guide id="4" orient="horz" pos="7632">
          <p15:clr>
            <a:srgbClr val="F26B43"/>
          </p15:clr>
        </p15:guide>
        <p15:guide id="5" pos="985">
          <p15:clr>
            <a:srgbClr val="F26B43"/>
          </p15:clr>
        </p15:guide>
        <p15:guide id="6" pos="1435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720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  <p:sldLayoutId id="2147483766" r:id="rId32"/>
    <p:sldLayoutId id="2147483767" r:id="rId33"/>
    <p:sldLayoutId id="2147483768" r:id="rId34"/>
    <p:sldLayoutId id="2147483769" r:id="rId35"/>
    <p:sldLayoutId id="2147483770" r:id="rId36"/>
    <p:sldLayoutId id="2147483771" r:id="rId37"/>
    <p:sldLayoutId id="2147483772" r:id="rId38"/>
    <p:sldLayoutId id="2147483773" r:id="rId39"/>
    <p:sldLayoutId id="2147483774" r:id="rId40"/>
    <p:sldLayoutId id="2147483775" r:id="rId41"/>
    <p:sldLayoutId id="2147483776" r:id="rId42"/>
    <p:sldLayoutId id="2147483777" r:id="rId43"/>
    <p:sldLayoutId id="2147483778" r:id="rId44"/>
    <p:sldLayoutId id="2147483779" r:id="rId45"/>
    <p:sldLayoutId id="2147483780" r:id="rId46"/>
    <p:sldLayoutId id="2147483781" r:id="rId47"/>
    <p:sldLayoutId id="2147483782" r:id="rId48"/>
    <p:sldLayoutId id="2147483783" r:id="rId49"/>
    <p:sldLayoutId id="2147483784" r:id="rId50"/>
    <p:sldLayoutId id="2147483853" r:id="rId51"/>
  </p:sldLayoutIdLst>
  <p:hf hd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8B94646-EDA6-0E49-AE38-1E6C6A422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8B94646-EDA6-0E49-AE38-1E6C6A422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9201B76-8D45-EB4F-A7CC-63EBA79D3B3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E00797-D32C-A647-B7DD-706C06895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8B905-8CE6-5541-BF08-742848A99D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6319DC-362D-C142-A092-9E1C80ED29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91063F-9840-3744-9363-50EDD53E33A2}" type="datetimeFigureOut">
              <a:rPr lang="en-US" smtClean="0"/>
              <a:t>11/7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132B9-FFD1-F54D-81BA-C1A74DD60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51F9A-F398-AB42-BA60-D4593AD139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A3167-5EBC-6149-8AAF-378B77AA4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565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471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  <p:sldLayoutId id="2147483849" r:id="rId30"/>
    <p:sldLayoutId id="2147483850" r:id="rId31"/>
    <p:sldLayoutId id="2147483851" r:id="rId32"/>
    <p:sldLayoutId id="2147483852" r:id="rId33"/>
  </p:sldLayoutIdLst>
  <p:txStyles>
    <p:titleStyle>
      <a:lvl1pPr algn="l" defTabSz="457109" rtl="0" eaLnBrk="1" latinLnBrk="0" hangingPunct="1">
        <a:spcBef>
          <a:spcPct val="0"/>
        </a:spcBef>
        <a:buNone/>
        <a:defRPr sz="4199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31" indent="-342831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801" indent="-285693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2771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599880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6989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5499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206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8314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5423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jp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20.jpg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9" Type="http://schemas.openxmlformats.org/officeDocument/2006/relationships/tags" Target="../tags/tag166.xml"/><Relationship Id="rId21" Type="http://schemas.openxmlformats.org/officeDocument/2006/relationships/tags" Target="../tags/tag148.xml"/><Relationship Id="rId34" Type="http://schemas.openxmlformats.org/officeDocument/2006/relationships/tags" Target="../tags/tag161.xml"/><Relationship Id="rId42" Type="http://schemas.openxmlformats.org/officeDocument/2006/relationships/tags" Target="../tags/tag169.xml"/><Relationship Id="rId47" Type="http://schemas.openxmlformats.org/officeDocument/2006/relationships/tags" Target="../tags/tag174.xml"/><Relationship Id="rId50" Type="http://schemas.openxmlformats.org/officeDocument/2006/relationships/tags" Target="../tags/tag177.xml"/><Relationship Id="rId55" Type="http://schemas.openxmlformats.org/officeDocument/2006/relationships/tags" Target="../tags/tag182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9" Type="http://schemas.openxmlformats.org/officeDocument/2006/relationships/tags" Target="../tags/tag156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tags" Target="../tags/tag159.xml"/><Relationship Id="rId37" Type="http://schemas.openxmlformats.org/officeDocument/2006/relationships/tags" Target="../tags/tag164.xml"/><Relationship Id="rId40" Type="http://schemas.openxmlformats.org/officeDocument/2006/relationships/tags" Target="../tags/tag167.xml"/><Relationship Id="rId45" Type="http://schemas.openxmlformats.org/officeDocument/2006/relationships/tags" Target="../tags/tag172.xml"/><Relationship Id="rId53" Type="http://schemas.openxmlformats.org/officeDocument/2006/relationships/tags" Target="../tags/tag180.xml"/><Relationship Id="rId58" Type="http://schemas.openxmlformats.org/officeDocument/2006/relationships/slideLayout" Target="../slideLayouts/slideLayout110.xml"/><Relationship Id="rId5" Type="http://schemas.openxmlformats.org/officeDocument/2006/relationships/tags" Target="../tags/tag132.xml"/><Relationship Id="rId61" Type="http://schemas.openxmlformats.org/officeDocument/2006/relationships/chart" Target="../charts/chart7.xml"/><Relationship Id="rId19" Type="http://schemas.openxmlformats.org/officeDocument/2006/relationships/tags" Target="../tags/tag14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tags" Target="../tags/tag157.xml"/><Relationship Id="rId35" Type="http://schemas.openxmlformats.org/officeDocument/2006/relationships/tags" Target="../tags/tag162.xml"/><Relationship Id="rId43" Type="http://schemas.openxmlformats.org/officeDocument/2006/relationships/tags" Target="../tags/tag170.xml"/><Relationship Id="rId48" Type="http://schemas.openxmlformats.org/officeDocument/2006/relationships/tags" Target="../tags/tag175.xml"/><Relationship Id="rId56" Type="http://schemas.openxmlformats.org/officeDocument/2006/relationships/tags" Target="../tags/tag183.xml"/><Relationship Id="rId8" Type="http://schemas.openxmlformats.org/officeDocument/2006/relationships/tags" Target="../tags/tag135.xml"/><Relationship Id="rId51" Type="http://schemas.openxmlformats.org/officeDocument/2006/relationships/tags" Target="../tags/tag178.xml"/><Relationship Id="rId3" Type="http://schemas.openxmlformats.org/officeDocument/2006/relationships/tags" Target="../tags/tag130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tags" Target="../tags/tag160.xml"/><Relationship Id="rId38" Type="http://schemas.openxmlformats.org/officeDocument/2006/relationships/tags" Target="../tags/tag165.xml"/><Relationship Id="rId46" Type="http://schemas.openxmlformats.org/officeDocument/2006/relationships/tags" Target="../tags/tag173.xml"/><Relationship Id="rId59" Type="http://schemas.openxmlformats.org/officeDocument/2006/relationships/oleObject" Target="../embeddings/oleObject4.bin"/><Relationship Id="rId20" Type="http://schemas.openxmlformats.org/officeDocument/2006/relationships/tags" Target="../tags/tag147.xml"/><Relationship Id="rId41" Type="http://schemas.openxmlformats.org/officeDocument/2006/relationships/tags" Target="../tags/tag168.xml"/><Relationship Id="rId54" Type="http://schemas.openxmlformats.org/officeDocument/2006/relationships/tags" Target="../tags/tag18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33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36" Type="http://schemas.openxmlformats.org/officeDocument/2006/relationships/tags" Target="../tags/tag163.xml"/><Relationship Id="rId49" Type="http://schemas.openxmlformats.org/officeDocument/2006/relationships/tags" Target="../tags/tag176.xml"/><Relationship Id="rId57" Type="http://schemas.openxmlformats.org/officeDocument/2006/relationships/tags" Target="../tags/tag184.xml"/><Relationship Id="rId10" Type="http://schemas.openxmlformats.org/officeDocument/2006/relationships/tags" Target="../tags/tag137.xml"/><Relationship Id="rId31" Type="http://schemas.openxmlformats.org/officeDocument/2006/relationships/tags" Target="../tags/tag158.xml"/><Relationship Id="rId44" Type="http://schemas.openxmlformats.org/officeDocument/2006/relationships/tags" Target="../tags/tag171.xml"/><Relationship Id="rId52" Type="http://schemas.openxmlformats.org/officeDocument/2006/relationships/tags" Target="../tags/tag179.xml"/><Relationship Id="rId60" Type="http://schemas.openxmlformats.org/officeDocument/2006/relationships/image" Target="../media/image21.emf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209.xml"/><Relationship Id="rId21" Type="http://schemas.openxmlformats.org/officeDocument/2006/relationships/tags" Target="../tags/tag204.xml"/><Relationship Id="rId34" Type="http://schemas.openxmlformats.org/officeDocument/2006/relationships/tags" Target="../tags/tag217.xml"/><Relationship Id="rId42" Type="http://schemas.openxmlformats.org/officeDocument/2006/relationships/tags" Target="../tags/tag225.xml"/><Relationship Id="rId47" Type="http://schemas.openxmlformats.org/officeDocument/2006/relationships/tags" Target="../tags/tag230.xml"/><Relationship Id="rId50" Type="http://schemas.openxmlformats.org/officeDocument/2006/relationships/tags" Target="../tags/tag233.xml"/><Relationship Id="rId55" Type="http://schemas.openxmlformats.org/officeDocument/2006/relationships/tags" Target="../tags/tag238.xml"/><Relationship Id="rId63" Type="http://schemas.openxmlformats.org/officeDocument/2006/relationships/slideLayout" Target="../slideLayouts/slideLayout110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6" Type="http://schemas.openxmlformats.org/officeDocument/2006/relationships/tags" Target="../tags/tag199.xml"/><Relationship Id="rId29" Type="http://schemas.openxmlformats.org/officeDocument/2006/relationships/tags" Target="../tags/tag212.xml"/><Relationship Id="rId11" Type="http://schemas.openxmlformats.org/officeDocument/2006/relationships/tags" Target="../tags/tag194.xml"/><Relationship Id="rId24" Type="http://schemas.openxmlformats.org/officeDocument/2006/relationships/tags" Target="../tags/tag207.xml"/><Relationship Id="rId32" Type="http://schemas.openxmlformats.org/officeDocument/2006/relationships/tags" Target="../tags/tag215.xml"/><Relationship Id="rId37" Type="http://schemas.openxmlformats.org/officeDocument/2006/relationships/tags" Target="../tags/tag220.xml"/><Relationship Id="rId40" Type="http://schemas.openxmlformats.org/officeDocument/2006/relationships/tags" Target="../tags/tag223.xml"/><Relationship Id="rId45" Type="http://schemas.openxmlformats.org/officeDocument/2006/relationships/tags" Target="../tags/tag228.xml"/><Relationship Id="rId53" Type="http://schemas.openxmlformats.org/officeDocument/2006/relationships/tags" Target="../tags/tag236.xml"/><Relationship Id="rId58" Type="http://schemas.openxmlformats.org/officeDocument/2006/relationships/tags" Target="../tags/tag241.xml"/><Relationship Id="rId66" Type="http://schemas.openxmlformats.org/officeDocument/2006/relationships/chart" Target="../charts/chart8.xml"/><Relationship Id="rId5" Type="http://schemas.openxmlformats.org/officeDocument/2006/relationships/tags" Target="../tags/tag188.xml"/><Relationship Id="rId61" Type="http://schemas.openxmlformats.org/officeDocument/2006/relationships/tags" Target="../tags/tag244.xml"/><Relationship Id="rId19" Type="http://schemas.openxmlformats.org/officeDocument/2006/relationships/tags" Target="../tags/tag202.xml"/><Relationship Id="rId14" Type="http://schemas.openxmlformats.org/officeDocument/2006/relationships/tags" Target="../tags/tag197.xml"/><Relationship Id="rId22" Type="http://schemas.openxmlformats.org/officeDocument/2006/relationships/tags" Target="../tags/tag205.xml"/><Relationship Id="rId27" Type="http://schemas.openxmlformats.org/officeDocument/2006/relationships/tags" Target="../tags/tag210.xml"/><Relationship Id="rId30" Type="http://schemas.openxmlformats.org/officeDocument/2006/relationships/tags" Target="../tags/tag213.xml"/><Relationship Id="rId35" Type="http://schemas.openxmlformats.org/officeDocument/2006/relationships/tags" Target="../tags/tag218.xml"/><Relationship Id="rId43" Type="http://schemas.openxmlformats.org/officeDocument/2006/relationships/tags" Target="../tags/tag226.xml"/><Relationship Id="rId48" Type="http://schemas.openxmlformats.org/officeDocument/2006/relationships/tags" Target="../tags/tag231.xml"/><Relationship Id="rId56" Type="http://schemas.openxmlformats.org/officeDocument/2006/relationships/tags" Target="../tags/tag239.xml"/><Relationship Id="rId64" Type="http://schemas.openxmlformats.org/officeDocument/2006/relationships/oleObject" Target="../embeddings/oleObject5.bin"/><Relationship Id="rId8" Type="http://schemas.openxmlformats.org/officeDocument/2006/relationships/tags" Target="../tags/tag191.xml"/><Relationship Id="rId51" Type="http://schemas.openxmlformats.org/officeDocument/2006/relationships/tags" Target="../tags/tag234.xml"/><Relationship Id="rId3" Type="http://schemas.openxmlformats.org/officeDocument/2006/relationships/tags" Target="../tags/tag186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5" Type="http://schemas.openxmlformats.org/officeDocument/2006/relationships/tags" Target="../tags/tag208.xml"/><Relationship Id="rId33" Type="http://schemas.openxmlformats.org/officeDocument/2006/relationships/tags" Target="../tags/tag216.xml"/><Relationship Id="rId38" Type="http://schemas.openxmlformats.org/officeDocument/2006/relationships/tags" Target="../tags/tag221.xml"/><Relationship Id="rId46" Type="http://schemas.openxmlformats.org/officeDocument/2006/relationships/tags" Target="../tags/tag229.xml"/><Relationship Id="rId59" Type="http://schemas.openxmlformats.org/officeDocument/2006/relationships/tags" Target="../tags/tag242.xml"/><Relationship Id="rId20" Type="http://schemas.openxmlformats.org/officeDocument/2006/relationships/tags" Target="../tags/tag203.xml"/><Relationship Id="rId41" Type="http://schemas.openxmlformats.org/officeDocument/2006/relationships/tags" Target="../tags/tag224.xml"/><Relationship Id="rId54" Type="http://schemas.openxmlformats.org/officeDocument/2006/relationships/tags" Target="../tags/tag237.xml"/><Relationship Id="rId62" Type="http://schemas.openxmlformats.org/officeDocument/2006/relationships/tags" Target="../tags/tag2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189.xml"/><Relationship Id="rId15" Type="http://schemas.openxmlformats.org/officeDocument/2006/relationships/tags" Target="../tags/tag198.xml"/><Relationship Id="rId23" Type="http://schemas.openxmlformats.org/officeDocument/2006/relationships/tags" Target="../tags/tag206.xml"/><Relationship Id="rId28" Type="http://schemas.openxmlformats.org/officeDocument/2006/relationships/tags" Target="../tags/tag211.xml"/><Relationship Id="rId36" Type="http://schemas.openxmlformats.org/officeDocument/2006/relationships/tags" Target="../tags/tag219.xml"/><Relationship Id="rId49" Type="http://schemas.openxmlformats.org/officeDocument/2006/relationships/tags" Target="../tags/tag232.xml"/><Relationship Id="rId57" Type="http://schemas.openxmlformats.org/officeDocument/2006/relationships/tags" Target="../tags/tag240.xml"/><Relationship Id="rId10" Type="http://schemas.openxmlformats.org/officeDocument/2006/relationships/tags" Target="../tags/tag193.xml"/><Relationship Id="rId31" Type="http://schemas.openxmlformats.org/officeDocument/2006/relationships/tags" Target="../tags/tag214.xml"/><Relationship Id="rId44" Type="http://schemas.openxmlformats.org/officeDocument/2006/relationships/tags" Target="../tags/tag227.xml"/><Relationship Id="rId52" Type="http://schemas.openxmlformats.org/officeDocument/2006/relationships/tags" Target="../tags/tag235.xml"/><Relationship Id="rId60" Type="http://schemas.openxmlformats.org/officeDocument/2006/relationships/tags" Target="../tags/tag243.xml"/><Relationship Id="rId65" Type="http://schemas.openxmlformats.org/officeDocument/2006/relationships/image" Target="../media/image21.emf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39" Type="http://schemas.openxmlformats.org/officeDocument/2006/relationships/tags" Target="../tags/tag222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57.xml"/><Relationship Id="rId18" Type="http://schemas.openxmlformats.org/officeDocument/2006/relationships/tags" Target="../tags/tag262.xml"/><Relationship Id="rId26" Type="http://schemas.openxmlformats.org/officeDocument/2006/relationships/tags" Target="../tags/tag270.xml"/><Relationship Id="rId39" Type="http://schemas.openxmlformats.org/officeDocument/2006/relationships/tags" Target="../tags/tag283.xml"/><Relationship Id="rId21" Type="http://schemas.openxmlformats.org/officeDocument/2006/relationships/tags" Target="../tags/tag265.xml"/><Relationship Id="rId34" Type="http://schemas.openxmlformats.org/officeDocument/2006/relationships/tags" Target="../tags/tag278.xml"/><Relationship Id="rId42" Type="http://schemas.openxmlformats.org/officeDocument/2006/relationships/image" Target="../media/image22.emf"/><Relationship Id="rId7" Type="http://schemas.openxmlformats.org/officeDocument/2006/relationships/tags" Target="../tags/tag251.xml"/><Relationship Id="rId2" Type="http://schemas.openxmlformats.org/officeDocument/2006/relationships/tags" Target="../tags/tag246.xml"/><Relationship Id="rId16" Type="http://schemas.openxmlformats.org/officeDocument/2006/relationships/tags" Target="../tags/tag260.xml"/><Relationship Id="rId20" Type="http://schemas.openxmlformats.org/officeDocument/2006/relationships/tags" Target="../tags/tag264.xml"/><Relationship Id="rId29" Type="http://schemas.openxmlformats.org/officeDocument/2006/relationships/tags" Target="../tags/tag273.xml"/><Relationship Id="rId41" Type="http://schemas.openxmlformats.org/officeDocument/2006/relationships/oleObject" Target="../embeddings/oleObject6.bin"/><Relationship Id="rId1" Type="http://schemas.openxmlformats.org/officeDocument/2006/relationships/vmlDrawing" Target="../drawings/vmlDrawing7.v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24" Type="http://schemas.openxmlformats.org/officeDocument/2006/relationships/tags" Target="../tags/tag268.xml"/><Relationship Id="rId32" Type="http://schemas.openxmlformats.org/officeDocument/2006/relationships/tags" Target="../tags/tag276.xml"/><Relationship Id="rId37" Type="http://schemas.openxmlformats.org/officeDocument/2006/relationships/tags" Target="../tags/tag281.xml"/><Relationship Id="rId40" Type="http://schemas.openxmlformats.org/officeDocument/2006/relationships/slideLayout" Target="../slideLayouts/slideLayout111.xml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23" Type="http://schemas.openxmlformats.org/officeDocument/2006/relationships/tags" Target="../tags/tag267.xml"/><Relationship Id="rId28" Type="http://schemas.openxmlformats.org/officeDocument/2006/relationships/tags" Target="../tags/tag272.xml"/><Relationship Id="rId36" Type="http://schemas.openxmlformats.org/officeDocument/2006/relationships/tags" Target="../tags/tag280.xml"/><Relationship Id="rId10" Type="http://schemas.openxmlformats.org/officeDocument/2006/relationships/tags" Target="../tags/tag254.xml"/><Relationship Id="rId19" Type="http://schemas.openxmlformats.org/officeDocument/2006/relationships/tags" Target="../tags/tag263.xml"/><Relationship Id="rId31" Type="http://schemas.openxmlformats.org/officeDocument/2006/relationships/tags" Target="../tags/tag275.xml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Relationship Id="rId22" Type="http://schemas.openxmlformats.org/officeDocument/2006/relationships/tags" Target="../tags/tag266.xml"/><Relationship Id="rId27" Type="http://schemas.openxmlformats.org/officeDocument/2006/relationships/tags" Target="../tags/tag271.xml"/><Relationship Id="rId30" Type="http://schemas.openxmlformats.org/officeDocument/2006/relationships/tags" Target="../tags/tag274.xml"/><Relationship Id="rId35" Type="http://schemas.openxmlformats.org/officeDocument/2006/relationships/tags" Target="../tags/tag279.xml"/><Relationship Id="rId43" Type="http://schemas.openxmlformats.org/officeDocument/2006/relationships/chart" Target="../charts/chart9.xml"/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12" Type="http://schemas.openxmlformats.org/officeDocument/2006/relationships/tags" Target="../tags/tag256.xml"/><Relationship Id="rId17" Type="http://schemas.openxmlformats.org/officeDocument/2006/relationships/tags" Target="../tags/tag261.xml"/><Relationship Id="rId25" Type="http://schemas.openxmlformats.org/officeDocument/2006/relationships/tags" Target="../tags/tag269.xml"/><Relationship Id="rId33" Type="http://schemas.openxmlformats.org/officeDocument/2006/relationships/tags" Target="../tags/tag277.xml"/><Relationship Id="rId38" Type="http://schemas.openxmlformats.org/officeDocument/2006/relationships/tags" Target="../tags/tag282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95.xml"/><Relationship Id="rId18" Type="http://schemas.openxmlformats.org/officeDocument/2006/relationships/tags" Target="../tags/tag300.xml"/><Relationship Id="rId26" Type="http://schemas.openxmlformats.org/officeDocument/2006/relationships/tags" Target="../tags/tag308.xml"/><Relationship Id="rId21" Type="http://schemas.openxmlformats.org/officeDocument/2006/relationships/tags" Target="../tags/tag303.xml"/><Relationship Id="rId34" Type="http://schemas.openxmlformats.org/officeDocument/2006/relationships/slideLayout" Target="../slideLayouts/slideLayout111.xml"/><Relationship Id="rId7" Type="http://schemas.openxmlformats.org/officeDocument/2006/relationships/tags" Target="../tags/tag289.xml"/><Relationship Id="rId12" Type="http://schemas.openxmlformats.org/officeDocument/2006/relationships/tags" Target="../tags/tag294.xml"/><Relationship Id="rId17" Type="http://schemas.openxmlformats.org/officeDocument/2006/relationships/tags" Target="../tags/tag299.xml"/><Relationship Id="rId25" Type="http://schemas.openxmlformats.org/officeDocument/2006/relationships/tags" Target="../tags/tag307.xml"/><Relationship Id="rId33" Type="http://schemas.openxmlformats.org/officeDocument/2006/relationships/tags" Target="../tags/tag315.xml"/><Relationship Id="rId2" Type="http://schemas.openxmlformats.org/officeDocument/2006/relationships/tags" Target="../tags/tag284.xml"/><Relationship Id="rId16" Type="http://schemas.openxmlformats.org/officeDocument/2006/relationships/tags" Target="../tags/tag298.xml"/><Relationship Id="rId20" Type="http://schemas.openxmlformats.org/officeDocument/2006/relationships/tags" Target="../tags/tag302.xml"/><Relationship Id="rId29" Type="http://schemas.openxmlformats.org/officeDocument/2006/relationships/tags" Target="../tags/tag31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tags" Target="../tags/tag306.xml"/><Relationship Id="rId32" Type="http://schemas.openxmlformats.org/officeDocument/2006/relationships/tags" Target="../tags/tag314.xml"/><Relationship Id="rId37" Type="http://schemas.openxmlformats.org/officeDocument/2006/relationships/chart" Target="../charts/chart10.xml"/><Relationship Id="rId5" Type="http://schemas.openxmlformats.org/officeDocument/2006/relationships/tags" Target="../tags/tag287.xml"/><Relationship Id="rId15" Type="http://schemas.openxmlformats.org/officeDocument/2006/relationships/tags" Target="../tags/tag297.xml"/><Relationship Id="rId23" Type="http://schemas.openxmlformats.org/officeDocument/2006/relationships/tags" Target="../tags/tag305.xml"/><Relationship Id="rId28" Type="http://schemas.openxmlformats.org/officeDocument/2006/relationships/tags" Target="../tags/tag310.xml"/><Relationship Id="rId36" Type="http://schemas.openxmlformats.org/officeDocument/2006/relationships/image" Target="../media/image23.emf"/><Relationship Id="rId10" Type="http://schemas.openxmlformats.org/officeDocument/2006/relationships/tags" Target="../tags/tag292.xml"/><Relationship Id="rId19" Type="http://schemas.openxmlformats.org/officeDocument/2006/relationships/tags" Target="../tags/tag301.xml"/><Relationship Id="rId31" Type="http://schemas.openxmlformats.org/officeDocument/2006/relationships/tags" Target="../tags/tag313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tags" Target="../tags/tag296.xml"/><Relationship Id="rId22" Type="http://schemas.openxmlformats.org/officeDocument/2006/relationships/tags" Target="../tags/tag304.xml"/><Relationship Id="rId27" Type="http://schemas.openxmlformats.org/officeDocument/2006/relationships/tags" Target="../tags/tag309.xml"/><Relationship Id="rId30" Type="http://schemas.openxmlformats.org/officeDocument/2006/relationships/tags" Target="../tags/tag312.xml"/><Relationship Id="rId35" Type="http://schemas.openxmlformats.org/officeDocument/2006/relationships/oleObject" Target="../embeddings/oleObject7.bin"/><Relationship Id="rId8" Type="http://schemas.openxmlformats.org/officeDocument/2006/relationships/tags" Target="../tags/tag290.xml"/><Relationship Id="rId3" Type="http://schemas.openxmlformats.org/officeDocument/2006/relationships/tags" Target="../tags/tag28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327.xml"/><Relationship Id="rId18" Type="http://schemas.openxmlformats.org/officeDocument/2006/relationships/tags" Target="../tags/tag332.xml"/><Relationship Id="rId26" Type="http://schemas.openxmlformats.org/officeDocument/2006/relationships/tags" Target="../tags/tag340.xml"/><Relationship Id="rId39" Type="http://schemas.openxmlformats.org/officeDocument/2006/relationships/tags" Target="../tags/tag353.xml"/><Relationship Id="rId21" Type="http://schemas.openxmlformats.org/officeDocument/2006/relationships/tags" Target="../tags/tag335.xml"/><Relationship Id="rId34" Type="http://schemas.openxmlformats.org/officeDocument/2006/relationships/tags" Target="../tags/tag348.xml"/><Relationship Id="rId42" Type="http://schemas.openxmlformats.org/officeDocument/2006/relationships/tags" Target="../tags/tag356.xml"/><Relationship Id="rId47" Type="http://schemas.openxmlformats.org/officeDocument/2006/relationships/tags" Target="../tags/tag361.xml"/><Relationship Id="rId50" Type="http://schemas.openxmlformats.org/officeDocument/2006/relationships/tags" Target="../tags/tag364.xml"/><Relationship Id="rId55" Type="http://schemas.openxmlformats.org/officeDocument/2006/relationships/tags" Target="../tags/tag369.xml"/><Relationship Id="rId7" Type="http://schemas.openxmlformats.org/officeDocument/2006/relationships/tags" Target="../tags/tag321.xml"/><Relationship Id="rId2" Type="http://schemas.openxmlformats.org/officeDocument/2006/relationships/tags" Target="../tags/tag316.xml"/><Relationship Id="rId16" Type="http://schemas.openxmlformats.org/officeDocument/2006/relationships/tags" Target="../tags/tag330.xml"/><Relationship Id="rId29" Type="http://schemas.openxmlformats.org/officeDocument/2006/relationships/tags" Target="../tags/tag343.xml"/><Relationship Id="rId11" Type="http://schemas.openxmlformats.org/officeDocument/2006/relationships/tags" Target="../tags/tag325.xml"/><Relationship Id="rId24" Type="http://schemas.openxmlformats.org/officeDocument/2006/relationships/tags" Target="../tags/tag338.xml"/><Relationship Id="rId32" Type="http://schemas.openxmlformats.org/officeDocument/2006/relationships/tags" Target="../tags/tag346.xml"/><Relationship Id="rId37" Type="http://schemas.openxmlformats.org/officeDocument/2006/relationships/tags" Target="../tags/tag351.xml"/><Relationship Id="rId40" Type="http://schemas.openxmlformats.org/officeDocument/2006/relationships/tags" Target="../tags/tag354.xml"/><Relationship Id="rId45" Type="http://schemas.openxmlformats.org/officeDocument/2006/relationships/tags" Target="../tags/tag359.xml"/><Relationship Id="rId53" Type="http://schemas.openxmlformats.org/officeDocument/2006/relationships/tags" Target="../tags/tag367.xml"/><Relationship Id="rId58" Type="http://schemas.openxmlformats.org/officeDocument/2006/relationships/image" Target="../media/image15.emf"/><Relationship Id="rId5" Type="http://schemas.openxmlformats.org/officeDocument/2006/relationships/tags" Target="../tags/tag319.xml"/><Relationship Id="rId19" Type="http://schemas.openxmlformats.org/officeDocument/2006/relationships/tags" Target="../tags/tag333.xml"/><Relationship Id="rId4" Type="http://schemas.openxmlformats.org/officeDocument/2006/relationships/tags" Target="../tags/tag318.xml"/><Relationship Id="rId9" Type="http://schemas.openxmlformats.org/officeDocument/2006/relationships/tags" Target="../tags/tag323.xml"/><Relationship Id="rId14" Type="http://schemas.openxmlformats.org/officeDocument/2006/relationships/tags" Target="../tags/tag328.xml"/><Relationship Id="rId22" Type="http://schemas.openxmlformats.org/officeDocument/2006/relationships/tags" Target="../tags/tag336.xml"/><Relationship Id="rId27" Type="http://schemas.openxmlformats.org/officeDocument/2006/relationships/tags" Target="../tags/tag341.xml"/><Relationship Id="rId30" Type="http://schemas.openxmlformats.org/officeDocument/2006/relationships/tags" Target="../tags/tag344.xml"/><Relationship Id="rId35" Type="http://schemas.openxmlformats.org/officeDocument/2006/relationships/tags" Target="../tags/tag349.xml"/><Relationship Id="rId43" Type="http://schemas.openxmlformats.org/officeDocument/2006/relationships/tags" Target="../tags/tag357.xml"/><Relationship Id="rId48" Type="http://schemas.openxmlformats.org/officeDocument/2006/relationships/tags" Target="../tags/tag362.xml"/><Relationship Id="rId56" Type="http://schemas.openxmlformats.org/officeDocument/2006/relationships/slideLayout" Target="../slideLayouts/slideLayout111.xml"/><Relationship Id="rId8" Type="http://schemas.openxmlformats.org/officeDocument/2006/relationships/tags" Target="../tags/tag322.xml"/><Relationship Id="rId51" Type="http://schemas.openxmlformats.org/officeDocument/2006/relationships/tags" Target="../tags/tag365.xml"/><Relationship Id="rId3" Type="http://schemas.openxmlformats.org/officeDocument/2006/relationships/tags" Target="../tags/tag317.xml"/><Relationship Id="rId12" Type="http://schemas.openxmlformats.org/officeDocument/2006/relationships/tags" Target="../tags/tag326.xml"/><Relationship Id="rId17" Type="http://schemas.openxmlformats.org/officeDocument/2006/relationships/tags" Target="../tags/tag331.xml"/><Relationship Id="rId25" Type="http://schemas.openxmlformats.org/officeDocument/2006/relationships/tags" Target="../tags/tag339.xml"/><Relationship Id="rId33" Type="http://schemas.openxmlformats.org/officeDocument/2006/relationships/tags" Target="../tags/tag347.xml"/><Relationship Id="rId38" Type="http://schemas.openxmlformats.org/officeDocument/2006/relationships/tags" Target="../tags/tag352.xml"/><Relationship Id="rId46" Type="http://schemas.openxmlformats.org/officeDocument/2006/relationships/tags" Target="../tags/tag360.xml"/><Relationship Id="rId59" Type="http://schemas.openxmlformats.org/officeDocument/2006/relationships/chart" Target="../charts/chart11.xml"/><Relationship Id="rId20" Type="http://schemas.openxmlformats.org/officeDocument/2006/relationships/tags" Target="../tags/tag334.xml"/><Relationship Id="rId41" Type="http://schemas.openxmlformats.org/officeDocument/2006/relationships/tags" Target="../tags/tag355.xml"/><Relationship Id="rId54" Type="http://schemas.openxmlformats.org/officeDocument/2006/relationships/tags" Target="../tags/tag368.xml"/><Relationship Id="rId1" Type="http://schemas.openxmlformats.org/officeDocument/2006/relationships/vmlDrawing" Target="../drawings/vmlDrawing9.vml"/><Relationship Id="rId6" Type="http://schemas.openxmlformats.org/officeDocument/2006/relationships/tags" Target="../tags/tag320.xml"/><Relationship Id="rId15" Type="http://schemas.openxmlformats.org/officeDocument/2006/relationships/tags" Target="../tags/tag329.xml"/><Relationship Id="rId23" Type="http://schemas.openxmlformats.org/officeDocument/2006/relationships/tags" Target="../tags/tag337.xml"/><Relationship Id="rId28" Type="http://schemas.openxmlformats.org/officeDocument/2006/relationships/tags" Target="../tags/tag342.xml"/><Relationship Id="rId36" Type="http://schemas.openxmlformats.org/officeDocument/2006/relationships/tags" Target="../tags/tag350.xml"/><Relationship Id="rId49" Type="http://schemas.openxmlformats.org/officeDocument/2006/relationships/tags" Target="../tags/tag363.xml"/><Relationship Id="rId57" Type="http://schemas.openxmlformats.org/officeDocument/2006/relationships/oleObject" Target="../embeddings/oleObject2.bin"/><Relationship Id="rId10" Type="http://schemas.openxmlformats.org/officeDocument/2006/relationships/tags" Target="../tags/tag324.xml"/><Relationship Id="rId31" Type="http://schemas.openxmlformats.org/officeDocument/2006/relationships/tags" Target="../tags/tag345.xml"/><Relationship Id="rId44" Type="http://schemas.openxmlformats.org/officeDocument/2006/relationships/tags" Target="../tags/tag358.xml"/><Relationship Id="rId52" Type="http://schemas.openxmlformats.org/officeDocument/2006/relationships/tags" Target="../tags/tag366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381.xml"/><Relationship Id="rId18" Type="http://schemas.openxmlformats.org/officeDocument/2006/relationships/tags" Target="../tags/tag386.xml"/><Relationship Id="rId26" Type="http://schemas.openxmlformats.org/officeDocument/2006/relationships/tags" Target="../tags/tag394.xml"/><Relationship Id="rId39" Type="http://schemas.openxmlformats.org/officeDocument/2006/relationships/tags" Target="../tags/tag407.xml"/><Relationship Id="rId21" Type="http://schemas.openxmlformats.org/officeDocument/2006/relationships/tags" Target="../tags/tag389.xml"/><Relationship Id="rId34" Type="http://schemas.openxmlformats.org/officeDocument/2006/relationships/tags" Target="../tags/tag402.xml"/><Relationship Id="rId42" Type="http://schemas.openxmlformats.org/officeDocument/2006/relationships/tags" Target="../tags/tag410.xml"/><Relationship Id="rId47" Type="http://schemas.openxmlformats.org/officeDocument/2006/relationships/tags" Target="../tags/tag415.xml"/><Relationship Id="rId50" Type="http://schemas.openxmlformats.org/officeDocument/2006/relationships/tags" Target="../tags/tag418.xml"/><Relationship Id="rId55" Type="http://schemas.openxmlformats.org/officeDocument/2006/relationships/tags" Target="../tags/tag423.xml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6" Type="http://schemas.openxmlformats.org/officeDocument/2006/relationships/tags" Target="../tags/tag384.xml"/><Relationship Id="rId29" Type="http://schemas.openxmlformats.org/officeDocument/2006/relationships/tags" Target="../tags/tag397.xml"/><Relationship Id="rId11" Type="http://schemas.openxmlformats.org/officeDocument/2006/relationships/tags" Target="../tags/tag379.xml"/><Relationship Id="rId24" Type="http://schemas.openxmlformats.org/officeDocument/2006/relationships/tags" Target="../tags/tag392.xml"/><Relationship Id="rId32" Type="http://schemas.openxmlformats.org/officeDocument/2006/relationships/tags" Target="../tags/tag400.xml"/><Relationship Id="rId37" Type="http://schemas.openxmlformats.org/officeDocument/2006/relationships/tags" Target="../tags/tag405.xml"/><Relationship Id="rId40" Type="http://schemas.openxmlformats.org/officeDocument/2006/relationships/tags" Target="../tags/tag408.xml"/><Relationship Id="rId45" Type="http://schemas.openxmlformats.org/officeDocument/2006/relationships/tags" Target="../tags/tag413.xml"/><Relationship Id="rId53" Type="http://schemas.openxmlformats.org/officeDocument/2006/relationships/tags" Target="../tags/tag421.xml"/><Relationship Id="rId58" Type="http://schemas.openxmlformats.org/officeDocument/2006/relationships/image" Target="../media/image15.emf"/><Relationship Id="rId5" Type="http://schemas.openxmlformats.org/officeDocument/2006/relationships/tags" Target="../tags/tag373.xml"/><Relationship Id="rId19" Type="http://schemas.openxmlformats.org/officeDocument/2006/relationships/tags" Target="../tags/tag387.xml"/><Relationship Id="rId4" Type="http://schemas.openxmlformats.org/officeDocument/2006/relationships/tags" Target="../tags/tag372.xml"/><Relationship Id="rId9" Type="http://schemas.openxmlformats.org/officeDocument/2006/relationships/tags" Target="../tags/tag377.xml"/><Relationship Id="rId14" Type="http://schemas.openxmlformats.org/officeDocument/2006/relationships/tags" Target="../tags/tag382.xml"/><Relationship Id="rId22" Type="http://schemas.openxmlformats.org/officeDocument/2006/relationships/tags" Target="../tags/tag390.xml"/><Relationship Id="rId27" Type="http://schemas.openxmlformats.org/officeDocument/2006/relationships/tags" Target="../tags/tag395.xml"/><Relationship Id="rId30" Type="http://schemas.openxmlformats.org/officeDocument/2006/relationships/tags" Target="../tags/tag398.xml"/><Relationship Id="rId35" Type="http://schemas.openxmlformats.org/officeDocument/2006/relationships/tags" Target="../tags/tag403.xml"/><Relationship Id="rId43" Type="http://schemas.openxmlformats.org/officeDocument/2006/relationships/tags" Target="../tags/tag411.xml"/><Relationship Id="rId48" Type="http://schemas.openxmlformats.org/officeDocument/2006/relationships/tags" Target="../tags/tag416.xml"/><Relationship Id="rId56" Type="http://schemas.openxmlformats.org/officeDocument/2006/relationships/slideLayout" Target="../slideLayouts/slideLayout111.xml"/><Relationship Id="rId8" Type="http://schemas.openxmlformats.org/officeDocument/2006/relationships/tags" Target="../tags/tag376.xml"/><Relationship Id="rId51" Type="http://schemas.openxmlformats.org/officeDocument/2006/relationships/tags" Target="../tags/tag419.xml"/><Relationship Id="rId3" Type="http://schemas.openxmlformats.org/officeDocument/2006/relationships/tags" Target="../tags/tag371.xml"/><Relationship Id="rId12" Type="http://schemas.openxmlformats.org/officeDocument/2006/relationships/tags" Target="../tags/tag380.xml"/><Relationship Id="rId17" Type="http://schemas.openxmlformats.org/officeDocument/2006/relationships/tags" Target="../tags/tag385.xml"/><Relationship Id="rId25" Type="http://schemas.openxmlformats.org/officeDocument/2006/relationships/tags" Target="../tags/tag393.xml"/><Relationship Id="rId33" Type="http://schemas.openxmlformats.org/officeDocument/2006/relationships/tags" Target="../tags/tag401.xml"/><Relationship Id="rId38" Type="http://schemas.openxmlformats.org/officeDocument/2006/relationships/tags" Target="../tags/tag406.xml"/><Relationship Id="rId46" Type="http://schemas.openxmlformats.org/officeDocument/2006/relationships/tags" Target="../tags/tag414.xml"/><Relationship Id="rId59" Type="http://schemas.openxmlformats.org/officeDocument/2006/relationships/chart" Target="../charts/chart12.xml"/><Relationship Id="rId20" Type="http://schemas.openxmlformats.org/officeDocument/2006/relationships/tags" Target="../tags/tag388.xml"/><Relationship Id="rId41" Type="http://schemas.openxmlformats.org/officeDocument/2006/relationships/tags" Target="../tags/tag409.xml"/><Relationship Id="rId54" Type="http://schemas.openxmlformats.org/officeDocument/2006/relationships/tags" Target="../tags/tag42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74.xml"/><Relationship Id="rId15" Type="http://schemas.openxmlformats.org/officeDocument/2006/relationships/tags" Target="../tags/tag383.xml"/><Relationship Id="rId23" Type="http://schemas.openxmlformats.org/officeDocument/2006/relationships/tags" Target="../tags/tag391.xml"/><Relationship Id="rId28" Type="http://schemas.openxmlformats.org/officeDocument/2006/relationships/tags" Target="../tags/tag396.xml"/><Relationship Id="rId36" Type="http://schemas.openxmlformats.org/officeDocument/2006/relationships/tags" Target="../tags/tag404.xml"/><Relationship Id="rId49" Type="http://schemas.openxmlformats.org/officeDocument/2006/relationships/tags" Target="../tags/tag417.xml"/><Relationship Id="rId57" Type="http://schemas.openxmlformats.org/officeDocument/2006/relationships/oleObject" Target="../embeddings/oleObject8.bin"/><Relationship Id="rId10" Type="http://schemas.openxmlformats.org/officeDocument/2006/relationships/tags" Target="../tags/tag378.xml"/><Relationship Id="rId31" Type="http://schemas.openxmlformats.org/officeDocument/2006/relationships/tags" Target="../tags/tag399.xml"/><Relationship Id="rId44" Type="http://schemas.openxmlformats.org/officeDocument/2006/relationships/tags" Target="../tags/tag412.xml"/><Relationship Id="rId52" Type="http://schemas.openxmlformats.org/officeDocument/2006/relationships/tags" Target="../tags/tag42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13" Type="http://schemas.openxmlformats.org/officeDocument/2006/relationships/tags" Target="../tags/tag435.xml"/><Relationship Id="rId18" Type="http://schemas.openxmlformats.org/officeDocument/2006/relationships/tags" Target="../tags/tag440.xml"/><Relationship Id="rId3" Type="http://schemas.openxmlformats.org/officeDocument/2006/relationships/tags" Target="../tags/tag425.xml"/><Relationship Id="rId21" Type="http://schemas.openxmlformats.org/officeDocument/2006/relationships/oleObject" Target="../embeddings/oleObject3.bin"/><Relationship Id="rId7" Type="http://schemas.openxmlformats.org/officeDocument/2006/relationships/tags" Target="../tags/tag429.xml"/><Relationship Id="rId12" Type="http://schemas.openxmlformats.org/officeDocument/2006/relationships/tags" Target="../tags/tag434.xml"/><Relationship Id="rId17" Type="http://schemas.openxmlformats.org/officeDocument/2006/relationships/tags" Target="../tags/tag439.xml"/><Relationship Id="rId2" Type="http://schemas.openxmlformats.org/officeDocument/2006/relationships/tags" Target="../tags/tag424.xml"/><Relationship Id="rId16" Type="http://schemas.openxmlformats.org/officeDocument/2006/relationships/tags" Target="../tags/tag438.xml"/><Relationship Id="rId20" Type="http://schemas.openxmlformats.org/officeDocument/2006/relationships/slideLayout" Target="../slideLayouts/slideLayout11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28.xml"/><Relationship Id="rId11" Type="http://schemas.openxmlformats.org/officeDocument/2006/relationships/tags" Target="../tags/tag433.xml"/><Relationship Id="rId24" Type="http://schemas.openxmlformats.org/officeDocument/2006/relationships/chart" Target="../charts/chart14.xml"/><Relationship Id="rId5" Type="http://schemas.openxmlformats.org/officeDocument/2006/relationships/tags" Target="../tags/tag427.xml"/><Relationship Id="rId15" Type="http://schemas.openxmlformats.org/officeDocument/2006/relationships/tags" Target="../tags/tag437.xml"/><Relationship Id="rId23" Type="http://schemas.openxmlformats.org/officeDocument/2006/relationships/chart" Target="../charts/chart13.xml"/><Relationship Id="rId10" Type="http://schemas.openxmlformats.org/officeDocument/2006/relationships/tags" Target="../tags/tag432.xml"/><Relationship Id="rId19" Type="http://schemas.openxmlformats.org/officeDocument/2006/relationships/tags" Target="../tags/tag441.xml"/><Relationship Id="rId4" Type="http://schemas.openxmlformats.org/officeDocument/2006/relationships/tags" Target="../tags/tag426.xml"/><Relationship Id="rId9" Type="http://schemas.openxmlformats.org/officeDocument/2006/relationships/tags" Target="../tags/tag431.xml"/><Relationship Id="rId14" Type="http://schemas.openxmlformats.org/officeDocument/2006/relationships/tags" Target="../tags/tag436.xml"/><Relationship Id="rId22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453.xml"/><Relationship Id="rId18" Type="http://schemas.openxmlformats.org/officeDocument/2006/relationships/tags" Target="../tags/tag458.xml"/><Relationship Id="rId26" Type="http://schemas.openxmlformats.org/officeDocument/2006/relationships/tags" Target="../tags/tag466.xml"/><Relationship Id="rId39" Type="http://schemas.openxmlformats.org/officeDocument/2006/relationships/tags" Target="../tags/tag479.xml"/><Relationship Id="rId21" Type="http://schemas.openxmlformats.org/officeDocument/2006/relationships/tags" Target="../tags/tag461.xml"/><Relationship Id="rId34" Type="http://schemas.openxmlformats.org/officeDocument/2006/relationships/tags" Target="../tags/tag474.xml"/><Relationship Id="rId42" Type="http://schemas.openxmlformats.org/officeDocument/2006/relationships/tags" Target="../tags/tag482.xml"/><Relationship Id="rId47" Type="http://schemas.openxmlformats.org/officeDocument/2006/relationships/tags" Target="../tags/tag487.xml"/><Relationship Id="rId50" Type="http://schemas.openxmlformats.org/officeDocument/2006/relationships/image" Target="../media/image15.emf"/><Relationship Id="rId7" Type="http://schemas.openxmlformats.org/officeDocument/2006/relationships/tags" Target="../tags/tag447.xml"/><Relationship Id="rId2" Type="http://schemas.openxmlformats.org/officeDocument/2006/relationships/tags" Target="../tags/tag442.xml"/><Relationship Id="rId16" Type="http://schemas.openxmlformats.org/officeDocument/2006/relationships/tags" Target="../tags/tag456.xml"/><Relationship Id="rId29" Type="http://schemas.openxmlformats.org/officeDocument/2006/relationships/tags" Target="../tags/tag469.xml"/><Relationship Id="rId11" Type="http://schemas.openxmlformats.org/officeDocument/2006/relationships/tags" Target="../tags/tag451.xml"/><Relationship Id="rId24" Type="http://schemas.openxmlformats.org/officeDocument/2006/relationships/tags" Target="../tags/tag464.xml"/><Relationship Id="rId32" Type="http://schemas.openxmlformats.org/officeDocument/2006/relationships/tags" Target="../tags/tag472.xml"/><Relationship Id="rId37" Type="http://schemas.openxmlformats.org/officeDocument/2006/relationships/tags" Target="../tags/tag477.xml"/><Relationship Id="rId40" Type="http://schemas.openxmlformats.org/officeDocument/2006/relationships/tags" Target="../tags/tag480.xml"/><Relationship Id="rId45" Type="http://schemas.openxmlformats.org/officeDocument/2006/relationships/tags" Target="../tags/tag485.xml"/><Relationship Id="rId5" Type="http://schemas.openxmlformats.org/officeDocument/2006/relationships/tags" Target="../tags/tag445.xml"/><Relationship Id="rId15" Type="http://schemas.openxmlformats.org/officeDocument/2006/relationships/tags" Target="../tags/tag455.xml"/><Relationship Id="rId23" Type="http://schemas.openxmlformats.org/officeDocument/2006/relationships/tags" Target="../tags/tag463.xml"/><Relationship Id="rId28" Type="http://schemas.openxmlformats.org/officeDocument/2006/relationships/tags" Target="../tags/tag468.xml"/><Relationship Id="rId36" Type="http://schemas.openxmlformats.org/officeDocument/2006/relationships/tags" Target="../tags/tag476.xml"/><Relationship Id="rId49" Type="http://schemas.openxmlformats.org/officeDocument/2006/relationships/oleObject" Target="../embeddings/oleObject9.bin"/><Relationship Id="rId10" Type="http://schemas.openxmlformats.org/officeDocument/2006/relationships/tags" Target="../tags/tag450.xml"/><Relationship Id="rId19" Type="http://schemas.openxmlformats.org/officeDocument/2006/relationships/tags" Target="../tags/tag459.xml"/><Relationship Id="rId31" Type="http://schemas.openxmlformats.org/officeDocument/2006/relationships/tags" Target="../tags/tag471.xml"/><Relationship Id="rId44" Type="http://schemas.openxmlformats.org/officeDocument/2006/relationships/tags" Target="../tags/tag484.xml"/><Relationship Id="rId52" Type="http://schemas.openxmlformats.org/officeDocument/2006/relationships/chart" Target="../charts/chart16.xml"/><Relationship Id="rId4" Type="http://schemas.openxmlformats.org/officeDocument/2006/relationships/tags" Target="../tags/tag444.xml"/><Relationship Id="rId9" Type="http://schemas.openxmlformats.org/officeDocument/2006/relationships/tags" Target="../tags/tag449.xml"/><Relationship Id="rId14" Type="http://schemas.openxmlformats.org/officeDocument/2006/relationships/tags" Target="../tags/tag454.xml"/><Relationship Id="rId22" Type="http://schemas.openxmlformats.org/officeDocument/2006/relationships/tags" Target="../tags/tag462.xml"/><Relationship Id="rId27" Type="http://schemas.openxmlformats.org/officeDocument/2006/relationships/tags" Target="../tags/tag467.xml"/><Relationship Id="rId30" Type="http://schemas.openxmlformats.org/officeDocument/2006/relationships/tags" Target="../tags/tag470.xml"/><Relationship Id="rId35" Type="http://schemas.openxmlformats.org/officeDocument/2006/relationships/tags" Target="../tags/tag475.xml"/><Relationship Id="rId43" Type="http://schemas.openxmlformats.org/officeDocument/2006/relationships/tags" Target="../tags/tag483.xml"/><Relationship Id="rId48" Type="http://schemas.openxmlformats.org/officeDocument/2006/relationships/slideLayout" Target="../slideLayouts/slideLayout111.xml"/><Relationship Id="rId8" Type="http://schemas.openxmlformats.org/officeDocument/2006/relationships/tags" Target="../tags/tag448.xml"/><Relationship Id="rId51" Type="http://schemas.openxmlformats.org/officeDocument/2006/relationships/chart" Target="../charts/chart15.xml"/><Relationship Id="rId3" Type="http://schemas.openxmlformats.org/officeDocument/2006/relationships/tags" Target="../tags/tag443.xml"/><Relationship Id="rId12" Type="http://schemas.openxmlformats.org/officeDocument/2006/relationships/tags" Target="../tags/tag452.xml"/><Relationship Id="rId17" Type="http://schemas.openxmlformats.org/officeDocument/2006/relationships/tags" Target="../tags/tag457.xml"/><Relationship Id="rId25" Type="http://schemas.openxmlformats.org/officeDocument/2006/relationships/tags" Target="../tags/tag465.xml"/><Relationship Id="rId33" Type="http://schemas.openxmlformats.org/officeDocument/2006/relationships/tags" Target="../tags/tag473.xml"/><Relationship Id="rId38" Type="http://schemas.openxmlformats.org/officeDocument/2006/relationships/tags" Target="../tags/tag478.xml"/><Relationship Id="rId46" Type="http://schemas.openxmlformats.org/officeDocument/2006/relationships/tags" Target="../tags/tag486.xml"/><Relationship Id="rId20" Type="http://schemas.openxmlformats.org/officeDocument/2006/relationships/tags" Target="../tags/tag460.xml"/><Relationship Id="rId41" Type="http://schemas.openxmlformats.org/officeDocument/2006/relationships/tags" Target="../tags/tag48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44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94.xml"/><Relationship Id="rId13" Type="http://schemas.openxmlformats.org/officeDocument/2006/relationships/tags" Target="../tags/tag499.xml"/><Relationship Id="rId18" Type="http://schemas.openxmlformats.org/officeDocument/2006/relationships/tags" Target="../tags/tag504.xml"/><Relationship Id="rId26" Type="http://schemas.openxmlformats.org/officeDocument/2006/relationships/oleObject" Target="../embeddings/oleObject10.bin"/><Relationship Id="rId3" Type="http://schemas.openxmlformats.org/officeDocument/2006/relationships/tags" Target="../tags/tag489.xml"/><Relationship Id="rId21" Type="http://schemas.openxmlformats.org/officeDocument/2006/relationships/tags" Target="../tags/tag507.xml"/><Relationship Id="rId7" Type="http://schemas.openxmlformats.org/officeDocument/2006/relationships/tags" Target="../tags/tag493.xml"/><Relationship Id="rId12" Type="http://schemas.openxmlformats.org/officeDocument/2006/relationships/tags" Target="../tags/tag498.xml"/><Relationship Id="rId17" Type="http://schemas.openxmlformats.org/officeDocument/2006/relationships/tags" Target="../tags/tag503.xml"/><Relationship Id="rId25" Type="http://schemas.openxmlformats.org/officeDocument/2006/relationships/slideLayout" Target="../slideLayouts/slideLayout111.xml"/><Relationship Id="rId2" Type="http://schemas.openxmlformats.org/officeDocument/2006/relationships/tags" Target="../tags/tag488.xml"/><Relationship Id="rId16" Type="http://schemas.openxmlformats.org/officeDocument/2006/relationships/tags" Target="../tags/tag502.xml"/><Relationship Id="rId20" Type="http://schemas.openxmlformats.org/officeDocument/2006/relationships/tags" Target="../tags/tag506.xml"/><Relationship Id="rId29" Type="http://schemas.openxmlformats.org/officeDocument/2006/relationships/chart" Target="../charts/chart1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92.xml"/><Relationship Id="rId11" Type="http://schemas.openxmlformats.org/officeDocument/2006/relationships/tags" Target="../tags/tag497.xml"/><Relationship Id="rId24" Type="http://schemas.openxmlformats.org/officeDocument/2006/relationships/tags" Target="../tags/tag510.xml"/><Relationship Id="rId5" Type="http://schemas.openxmlformats.org/officeDocument/2006/relationships/tags" Target="../tags/tag491.xml"/><Relationship Id="rId15" Type="http://schemas.openxmlformats.org/officeDocument/2006/relationships/tags" Target="../tags/tag501.xml"/><Relationship Id="rId23" Type="http://schemas.openxmlformats.org/officeDocument/2006/relationships/tags" Target="../tags/tag509.xml"/><Relationship Id="rId28" Type="http://schemas.openxmlformats.org/officeDocument/2006/relationships/chart" Target="../charts/chart17.xml"/><Relationship Id="rId10" Type="http://schemas.openxmlformats.org/officeDocument/2006/relationships/tags" Target="../tags/tag496.xml"/><Relationship Id="rId19" Type="http://schemas.openxmlformats.org/officeDocument/2006/relationships/tags" Target="../tags/tag505.xml"/><Relationship Id="rId4" Type="http://schemas.openxmlformats.org/officeDocument/2006/relationships/tags" Target="../tags/tag490.xml"/><Relationship Id="rId9" Type="http://schemas.openxmlformats.org/officeDocument/2006/relationships/tags" Target="../tags/tag495.xml"/><Relationship Id="rId14" Type="http://schemas.openxmlformats.org/officeDocument/2006/relationships/tags" Target="../tags/tag500.xml"/><Relationship Id="rId22" Type="http://schemas.openxmlformats.org/officeDocument/2006/relationships/tags" Target="../tags/tag508.xml"/><Relationship Id="rId27" Type="http://schemas.openxmlformats.org/officeDocument/2006/relationships/image" Target="../media/image15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17.xml"/><Relationship Id="rId13" Type="http://schemas.openxmlformats.org/officeDocument/2006/relationships/tags" Target="../tags/tag522.xml"/><Relationship Id="rId18" Type="http://schemas.openxmlformats.org/officeDocument/2006/relationships/chart" Target="../charts/chart20.xml"/><Relationship Id="rId3" Type="http://schemas.openxmlformats.org/officeDocument/2006/relationships/tags" Target="../tags/tag512.xml"/><Relationship Id="rId7" Type="http://schemas.openxmlformats.org/officeDocument/2006/relationships/tags" Target="../tags/tag516.xml"/><Relationship Id="rId12" Type="http://schemas.openxmlformats.org/officeDocument/2006/relationships/tags" Target="../tags/tag521.xml"/><Relationship Id="rId17" Type="http://schemas.openxmlformats.org/officeDocument/2006/relationships/chart" Target="../charts/chart19.xml"/><Relationship Id="rId2" Type="http://schemas.openxmlformats.org/officeDocument/2006/relationships/tags" Target="../tags/tag511.xml"/><Relationship Id="rId16" Type="http://schemas.openxmlformats.org/officeDocument/2006/relationships/image" Target="../media/image15.emf"/><Relationship Id="rId1" Type="http://schemas.openxmlformats.org/officeDocument/2006/relationships/vmlDrawing" Target="../drawings/vmlDrawing14.vml"/><Relationship Id="rId6" Type="http://schemas.openxmlformats.org/officeDocument/2006/relationships/tags" Target="../tags/tag515.xml"/><Relationship Id="rId11" Type="http://schemas.openxmlformats.org/officeDocument/2006/relationships/tags" Target="../tags/tag520.xml"/><Relationship Id="rId5" Type="http://schemas.openxmlformats.org/officeDocument/2006/relationships/tags" Target="../tags/tag514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519.xml"/><Relationship Id="rId4" Type="http://schemas.openxmlformats.org/officeDocument/2006/relationships/tags" Target="../tags/tag513.xml"/><Relationship Id="rId9" Type="http://schemas.openxmlformats.org/officeDocument/2006/relationships/tags" Target="../tags/tag518.xml"/><Relationship Id="rId14" Type="http://schemas.openxmlformats.org/officeDocument/2006/relationships/slideLayout" Target="../slideLayouts/slideLayout111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534.xml"/><Relationship Id="rId18" Type="http://schemas.openxmlformats.org/officeDocument/2006/relationships/tags" Target="../tags/tag539.xml"/><Relationship Id="rId26" Type="http://schemas.openxmlformats.org/officeDocument/2006/relationships/tags" Target="../tags/tag547.xml"/><Relationship Id="rId39" Type="http://schemas.openxmlformats.org/officeDocument/2006/relationships/tags" Target="../tags/tag560.xml"/><Relationship Id="rId21" Type="http://schemas.openxmlformats.org/officeDocument/2006/relationships/tags" Target="../tags/tag542.xml"/><Relationship Id="rId34" Type="http://schemas.openxmlformats.org/officeDocument/2006/relationships/tags" Target="../tags/tag555.xml"/><Relationship Id="rId42" Type="http://schemas.openxmlformats.org/officeDocument/2006/relationships/tags" Target="../tags/tag563.xml"/><Relationship Id="rId47" Type="http://schemas.openxmlformats.org/officeDocument/2006/relationships/chart" Target="../charts/chart21.xml"/><Relationship Id="rId7" Type="http://schemas.openxmlformats.org/officeDocument/2006/relationships/tags" Target="../tags/tag528.xml"/><Relationship Id="rId2" Type="http://schemas.openxmlformats.org/officeDocument/2006/relationships/tags" Target="../tags/tag523.xml"/><Relationship Id="rId16" Type="http://schemas.openxmlformats.org/officeDocument/2006/relationships/tags" Target="../tags/tag537.xml"/><Relationship Id="rId29" Type="http://schemas.openxmlformats.org/officeDocument/2006/relationships/tags" Target="../tags/tag55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527.xml"/><Relationship Id="rId11" Type="http://schemas.openxmlformats.org/officeDocument/2006/relationships/tags" Target="../tags/tag532.xml"/><Relationship Id="rId24" Type="http://schemas.openxmlformats.org/officeDocument/2006/relationships/tags" Target="../tags/tag545.xml"/><Relationship Id="rId32" Type="http://schemas.openxmlformats.org/officeDocument/2006/relationships/tags" Target="../tags/tag553.xml"/><Relationship Id="rId37" Type="http://schemas.openxmlformats.org/officeDocument/2006/relationships/tags" Target="../tags/tag558.xml"/><Relationship Id="rId40" Type="http://schemas.openxmlformats.org/officeDocument/2006/relationships/tags" Target="../tags/tag561.xml"/><Relationship Id="rId45" Type="http://schemas.openxmlformats.org/officeDocument/2006/relationships/oleObject" Target="../embeddings/oleObject12.bin"/><Relationship Id="rId5" Type="http://schemas.openxmlformats.org/officeDocument/2006/relationships/tags" Target="../tags/tag526.xml"/><Relationship Id="rId15" Type="http://schemas.openxmlformats.org/officeDocument/2006/relationships/tags" Target="../tags/tag536.xml"/><Relationship Id="rId23" Type="http://schemas.openxmlformats.org/officeDocument/2006/relationships/tags" Target="../tags/tag544.xml"/><Relationship Id="rId28" Type="http://schemas.openxmlformats.org/officeDocument/2006/relationships/tags" Target="../tags/tag549.xml"/><Relationship Id="rId36" Type="http://schemas.openxmlformats.org/officeDocument/2006/relationships/tags" Target="../tags/tag557.xml"/><Relationship Id="rId10" Type="http://schemas.openxmlformats.org/officeDocument/2006/relationships/tags" Target="../tags/tag531.xml"/><Relationship Id="rId19" Type="http://schemas.openxmlformats.org/officeDocument/2006/relationships/tags" Target="../tags/tag540.xml"/><Relationship Id="rId31" Type="http://schemas.openxmlformats.org/officeDocument/2006/relationships/tags" Target="../tags/tag552.xml"/><Relationship Id="rId44" Type="http://schemas.openxmlformats.org/officeDocument/2006/relationships/slideLayout" Target="../slideLayouts/slideLayout111.xml"/><Relationship Id="rId4" Type="http://schemas.openxmlformats.org/officeDocument/2006/relationships/tags" Target="../tags/tag525.xml"/><Relationship Id="rId9" Type="http://schemas.openxmlformats.org/officeDocument/2006/relationships/tags" Target="../tags/tag530.xml"/><Relationship Id="rId14" Type="http://schemas.openxmlformats.org/officeDocument/2006/relationships/tags" Target="../tags/tag535.xml"/><Relationship Id="rId22" Type="http://schemas.openxmlformats.org/officeDocument/2006/relationships/tags" Target="../tags/tag543.xml"/><Relationship Id="rId27" Type="http://schemas.openxmlformats.org/officeDocument/2006/relationships/tags" Target="../tags/tag548.xml"/><Relationship Id="rId30" Type="http://schemas.openxmlformats.org/officeDocument/2006/relationships/tags" Target="../tags/tag551.xml"/><Relationship Id="rId35" Type="http://schemas.openxmlformats.org/officeDocument/2006/relationships/tags" Target="../tags/tag556.xml"/><Relationship Id="rId43" Type="http://schemas.openxmlformats.org/officeDocument/2006/relationships/tags" Target="../tags/tag564.xml"/><Relationship Id="rId8" Type="http://schemas.openxmlformats.org/officeDocument/2006/relationships/tags" Target="../tags/tag529.xml"/><Relationship Id="rId3" Type="http://schemas.openxmlformats.org/officeDocument/2006/relationships/tags" Target="../tags/tag524.xml"/><Relationship Id="rId12" Type="http://schemas.openxmlformats.org/officeDocument/2006/relationships/tags" Target="../tags/tag533.xml"/><Relationship Id="rId17" Type="http://schemas.openxmlformats.org/officeDocument/2006/relationships/tags" Target="../tags/tag538.xml"/><Relationship Id="rId25" Type="http://schemas.openxmlformats.org/officeDocument/2006/relationships/tags" Target="../tags/tag546.xml"/><Relationship Id="rId33" Type="http://schemas.openxmlformats.org/officeDocument/2006/relationships/tags" Target="../tags/tag554.xml"/><Relationship Id="rId38" Type="http://schemas.openxmlformats.org/officeDocument/2006/relationships/tags" Target="../tags/tag559.xml"/><Relationship Id="rId46" Type="http://schemas.openxmlformats.org/officeDocument/2006/relationships/image" Target="../media/image15.emf"/><Relationship Id="rId20" Type="http://schemas.openxmlformats.org/officeDocument/2006/relationships/tags" Target="../tags/tag541.xml"/><Relationship Id="rId41" Type="http://schemas.openxmlformats.org/officeDocument/2006/relationships/tags" Target="../tags/tag562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576.xml"/><Relationship Id="rId18" Type="http://schemas.openxmlformats.org/officeDocument/2006/relationships/tags" Target="../tags/tag581.xml"/><Relationship Id="rId26" Type="http://schemas.openxmlformats.org/officeDocument/2006/relationships/tags" Target="../tags/tag589.xml"/><Relationship Id="rId39" Type="http://schemas.openxmlformats.org/officeDocument/2006/relationships/tags" Target="../tags/tag602.xml"/><Relationship Id="rId21" Type="http://schemas.openxmlformats.org/officeDocument/2006/relationships/tags" Target="../tags/tag584.xml"/><Relationship Id="rId34" Type="http://schemas.openxmlformats.org/officeDocument/2006/relationships/tags" Target="../tags/tag597.xml"/><Relationship Id="rId42" Type="http://schemas.openxmlformats.org/officeDocument/2006/relationships/tags" Target="../tags/tag605.xml"/><Relationship Id="rId47" Type="http://schemas.openxmlformats.org/officeDocument/2006/relationships/tags" Target="../tags/tag610.xml"/><Relationship Id="rId50" Type="http://schemas.openxmlformats.org/officeDocument/2006/relationships/oleObject" Target="../embeddings/oleObject13.bin"/><Relationship Id="rId7" Type="http://schemas.openxmlformats.org/officeDocument/2006/relationships/tags" Target="../tags/tag570.xml"/><Relationship Id="rId2" Type="http://schemas.openxmlformats.org/officeDocument/2006/relationships/tags" Target="../tags/tag565.xml"/><Relationship Id="rId16" Type="http://schemas.openxmlformats.org/officeDocument/2006/relationships/tags" Target="../tags/tag579.xml"/><Relationship Id="rId29" Type="http://schemas.openxmlformats.org/officeDocument/2006/relationships/tags" Target="../tags/tag592.xml"/><Relationship Id="rId11" Type="http://schemas.openxmlformats.org/officeDocument/2006/relationships/tags" Target="../tags/tag574.xml"/><Relationship Id="rId24" Type="http://schemas.openxmlformats.org/officeDocument/2006/relationships/tags" Target="../tags/tag587.xml"/><Relationship Id="rId32" Type="http://schemas.openxmlformats.org/officeDocument/2006/relationships/tags" Target="../tags/tag595.xml"/><Relationship Id="rId37" Type="http://schemas.openxmlformats.org/officeDocument/2006/relationships/tags" Target="../tags/tag600.xml"/><Relationship Id="rId40" Type="http://schemas.openxmlformats.org/officeDocument/2006/relationships/tags" Target="../tags/tag603.xml"/><Relationship Id="rId45" Type="http://schemas.openxmlformats.org/officeDocument/2006/relationships/tags" Target="../tags/tag608.xml"/><Relationship Id="rId5" Type="http://schemas.openxmlformats.org/officeDocument/2006/relationships/tags" Target="../tags/tag568.xml"/><Relationship Id="rId15" Type="http://schemas.openxmlformats.org/officeDocument/2006/relationships/tags" Target="../tags/tag578.xml"/><Relationship Id="rId23" Type="http://schemas.openxmlformats.org/officeDocument/2006/relationships/tags" Target="../tags/tag586.xml"/><Relationship Id="rId28" Type="http://schemas.openxmlformats.org/officeDocument/2006/relationships/tags" Target="../tags/tag591.xml"/><Relationship Id="rId36" Type="http://schemas.openxmlformats.org/officeDocument/2006/relationships/tags" Target="../tags/tag599.xml"/><Relationship Id="rId49" Type="http://schemas.openxmlformats.org/officeDocument/2006/relationships/slideLayout" Target="../slideLayouts/slideLayout111.xml"/><Relationship Id="rId10" Type="http://schemas.openxmlformats.org/officeDocument/2006/relationships/tags" Target="../tags/tag573.xml"/><Relationship Id="rId19" Type="http://schemas.openxmlformats.org/officeDocument/2006/relationships/tags" Target="../tags/tag582.xml"/><Relationship Id="rId31" Type="http://schemas.openxmlformats.org/officeDocument/2006/relationships/tags" Target="../tags/tag594.xml"/><Relationship Id="rId44" Type="http://schemas.openxmlformats.org/officeDocument/2006/relationships/tags" Target="../tags/tag607.xml"/><Relationship Id="rId52" Type="http://schemas.openxmlformats.org/officeDocument/2006/relationships/chart" Target="../charts/chart22.xml"/><Relationship Id="rId4" Type="http://schemas.openxmlformats.org/officeDocument/2006/relationships/tags" Target="../tags/tag567.xml"/><Relationship Id="rId9" Type="http://schemas.openxmlformats.org/officeDocument/2006/relationships/tags" Target="../tags/tag572.xml"/><Relationship Id="rId14" Type="http://schemas.openxmlformats.org/officeDocument/2006/relationships/tags" Target="../tags/tag577.xml"/><Relationship Id="rId22" Type="http://schemas.openxmlformats.org/officeDocument/2006/relationships/tags" Target="../tags/tag585.xml"/><Relationship Id="rId27" Type="http://schemas.openxmlformats.org/officeDocument/2006/relationships/tags" Target="../tags/tag590.xml"/><Relationship Id="rId30" Type="http://schemas.openxmlformats.org/officeDocument/2006/relationships/tags" Target="../tags/tag593.xml"/><Relationship Id="rId35" Type="http://schemas.openxmlformats.org/officeDocument/2006/relationships/tags" Target="../tags/tag598.xml"/><Relationship Id="rId43" Type="http://schemas.openxmlformats.org/officeDocument/2006/relationships/tags" Target="../tags/tag606.xml"/><Relationship Id="rId48" Type="http://schemas.openxmlformats.org/officeDocument/2006/relationships/tags" Target="../tags/tag611.xml"/><Relationship Id="rId8" Type="http://schemas.openxmlformats.org/officeDocument/2006/relationships/tags" Target="../tags/tag571.xml"/><Relationship Id="rId51" Type="http://schemas.openxmlformats.org/officeDocument/2006/relationships/image" Target="../media/image15.emf"/><Relationship Id="rId3" Type="http://schemas.openxmlformats.org/officeDocument/2006/relationships/tags" Target="../tags/tag566.xml"/><Relationship Id="rId12" Type="http://schemas.openxmlformats.org/officeDocument/2006/relationships/tags" Target="../tags/tag575.xml"/><Relationship Id="rId17" Type="http://schemas.openxmlformats.org/officeDocument/2006/relationships/tags" Target="../tags/tag580.xml"/><Relationship Id="rId25" Type="http://schemas.openxmlformats.org/officeDocument/2006/relationships/tags" Target="../tags/tag588.xml"/><Relationship Id="rId33" Type="http://schemas.openxmlformats.org/officeDocument/2006/relationships/tags" Target="../tags/tag596.xml"/><Relationship Id="rId38" Type="http://schemas.openxmlformats.org/officeDocument/2006/relationships/tags" Target="../tags/tag601.xml"/><Relationship Id="rId46" Type="http://schemas.openxmlformats.org/officeDocument/2006/relationships/tags" Target="../tags/tag609.xml"/><Relationship Id="rId20" Type="http://schemas.openxmlformats.org/officeDocument/2006/relationships/tags" Target="../tags/tag583.xml"/><Relationship Id="rId41" Type="http://schemas.openxmlformats.org/officeDocument/2006/relationships/tags" Target="../tags/tag60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56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oleObject" Target="../embeddings/oleObject2.bin"/><Relationship Id="rId5" Type="http://schemas.openxmlformats.org/officeDocument/2006/relationships/tags" Target="../tags/tag6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slideLayout" Target="../slideLayouts/slideLayout100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image" Target="../media/image15.emf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image" Target="../media/image14.jpg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" Type="http://schemas.openxmlformats.org/officeDocument/2006/relationships/tags" Target="../tags/tag58.xml"/><Relationship Id="rId21" Type="http://schemas.openxmlformats.org/officeDocument/2006/relationships/oleObject" Target="../embeddings/oleObject3.bin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slideLayout" Target="../slideLayouts/slideLayout108.xml"/><Relationship Id="rId1" Type="http://schemas.openxmlformats.org/officeDocument/2006/relationships/vmlDrawing" Target="../drawings/vmlDrawing3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chart" Target="../charts/chart5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chart" Target="../charts/chart4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tags" Target="../tags/tag99.xml"/><Relationship Id="rId39" Type="http://schemas.openxmlformats.org/officeDocument/2006/relationships/tags" Target="../tags/tag112.xml"/><Relationship Id="rId21" Type="http://schemas.openxmlformats.org/officeDocument/2006/relationships/tags" Target="../tags/tag94.xml"/><Relationship Id="rId34" Type="http://schemas.openxmlformats.org/officeDocument/2006/relationships/tags" Target="../tags/tag107.xml"/><Relationship Id="rId42" Type="http://schemas.openxmlformats.org/officeDocument/2006/relationships/tags" Target="../tags/tag115.xml"/><Relationship Id="rId47" Type="http://schemas.openxmlformats.org/officeDocument/2006/relationships/tags" Target="../tags/tag120.xml"/><Relationship Id="rId50" Type="http://schemas.openxmlformats.org/officeDocument/2006/relationships/tags" Target="../tags/tag123.xml"/><Relationship Id="rId55" Type="http://schemas.openxmlformats.org/officeDocument/2006/relationships/tags" Target="../tags/tag128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9" Type="http://schemas.openxmlformats.org/officeDocument/2006/relationships/tags" Target="../tags/tag102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32" Type="http://schemas.openxmlformats.org/officeDocument/2006/relationships/tags" Target="../tags/tag105.xml"/><Relationship Id="rId37" Type="http://schemas.openxmlformats.org/officeDocument/2006/relationships/tags" Target="../tags/tag110.xml"/><Relationship Id="rId40" Type="http://schemas.openxmlformats.org/officeDocument/2006/relationships/tags" Target="../tags/tag113.xml"/><Relationship Id="rId45" Type="http://schemas.openxmlformats.org/officeDocument/2006/relationships/tags" Target="../tags/tag118.xml"/><Relationship Id="rId53" Type="http://schemas.openxmlformats.org/officeDocument/2006/relationships/tags" Target="../tags/tag126.xml"/><Relationship Id="rId58" Type="http://schemas.openxmlformats.org/officeDocument/2006/relationships/oleObject" Target="../embeddings/oleObject2.bin"/><Relationship Id="rId5" Type="http://schemas.openxmlformats.org/officeDocument/2006/relationships/tags" Target="../tags/tag78.xml"/><Relationship Id="rId19" Type="http://schemas.openxmlformats.org/officeDocument/2006/relationships/tags" Target="../tags/tag92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tags" Target="../tags/tag100.xml"/><Relationship Id="rId30" Type="http://schemas.openxmlformats.org/officeDocument/2006/relationships/tags" Target="../tags/tag103.xml"/><Relationship Id="rId35" Type="http://schemas.openxmlformats.org/officeDocument/2006/relationships/tags" Target="../tags/tag108.xml"/><Relationship Id="rId43" Type="http://schemas.openxmlformats.org/officeDocument/2006/relationships/tags" Target="../tags/tag116.xml"/><Relationship Id="rId48" Type="http://schemas.openxmlformats.org/officeDocument/2006/relationships/tags" Target="../tags/tag121.xml"/><Relationship Id="rId56" Type="http://schemas.openxmlformats.org/officeDocument/2006/relationships/slideLayout" Target="../slideLayouts/slideLayout100.xml"/><Relationship Id="rId8" Type="http://schemas.openxmlformats.org/officeDocument/2006/relationships/tags" Target="../tags/tag81.xml"/><Relationship Id="rId51" Type="http://schemas.openxmlformats.org/officeDocument/2006/relationships/tags" Target="../tags/tag124.xml"/><Relationship Id="rId3" Type="http://schemas.openxmlformats.org/officeDocument/2006/relationships/tags" Target="../tags/tag76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tags" Target="../tags/tag98.xml"/><Relationship Id="rId33" Type="http://schemas.openxmlformats.org/officeDocument/2006/relationships/tags" Target="../tags/tag106.xml"/><Relationship Id="rId38" Type="http://schemas.openxmlformats.org/officeDocument/2006/relationships/tags" Target="../tags/tag111.xml"/><Relationship Id="rId46" Type="http://schemas.openxmlformats.org/officeDocument/2006/relationships/tags" Target="../tags/tag119.xml"/><Relationship Id="rId59" Type="http://schemas.openxmlformats.org/officeDocument/2006/relationships/image" Target="../media/image15.emf"/><Relationship Id="rId20" Type="http://schemas.openxmlformats.org/officeDocument/2006/relationships/tags" Target="../tags/tag93.xml"/><Relationship Id="rId41" Type="http://schemas.openxmlformats.org/officeDocument/2006/relationships/tags" Target="../tags/tag114.xml"/><Relationship Id="rId54" Type="http://schemas.openxmlformats.org/officeDocument/2006/relationships/tags" Target="../tags/tag1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79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tags" Target="../tags/tag101.xml"/><Relationship Id="rId36" Type="http://schemas.openxmlformats.org/officeDocument/2006/relationships/tags" Target="../tags/tag109.xml"/><Relationship Id="rId49" Type="http://schemas.openxmlformats.org/officeDocument/2006/relationships/tags" Target="../tags/tag122.xml"/><Relationship Id="rId57" Type="http://schemas.openxmlformats.org/officeDocument/2006/relationships/image" Target="../media/image14.jpg"/><Relationship Id="rId10" Type="http://schemas.openxmlformats.org/officeDocument/2006/relationships/tags" Target="../tags/tag83.xml"/><Relationship Id="rId31" Type="http://schemas.openxmlformats.org/officeDocument/2006/relationships/tags" Target="../tags/tag104.xml"/><Relationship Id="rId44" Type="http://schemas.openxmlformats.org/officeDocument/2006/relationships/tags" Target="../tags/tag117.xml"/><Relationship Id="rId52" Type="http://schemas.openxmlformats.org/officeDocument/2006/relationships/tags" Target="../tags/tag125.xml"/><Relationship Id="rId60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C50298-87C4-D94F-A223-0440F40E27BE}"/>
              </a:ext>
            </a:extLst>
          </p:cNvPr>
          <p:cNvSpPr/>
          <p:nvPr/>
        </p:nvSpPr>
        <p:spPr>
          <a:xfrm>
            <a:off x="0" y="0"/>
            <a:ext cx="12171168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2" name="Picture 41" descr="A picture containing nature, grass, cup, yellow&#10;&#10;Description automatically generated">
            <a:extLst>
              <a:ext uri="{FF2B5EF4-FFF2-40B4-BE49-F238E27FC236}">
                <a16:creationId xmlns:a16="http://schemas.microsoft.com/office/drawing/2014/main" id="{C6364FC1-CDD2-4A4F-9031-50217604F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l="28210" r="39279" b="16268"/>
          <a:stretch/>
        </p:blipFill>
        <p:spPr>
          <a:xfrm>
            <a:off x="0" y="0"/>
            <a:ext cx="3302616" cy="685800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0F842CE-3A74-4C15-B54D-AFF1F0AC0449}"/>
              </a:ext>
            </a:extLst>
          </p:cNvPr>
          <p:cNvSpPr txBox="1"/>
          <p:nvPr/>
        </p:nvSpPr>
        <p:spPr>
          <a:xfrm>
            <a:off x="2798446" y="628233"/>
            <a:ext cx="9013419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0" b="1" dirty="0">
                <a:solidFill>
                  <a:schemeClr val="tx1">
                    <a:lumMod val="90000"/>
                    <a:lumOff val="10000"/>
                    <a:alpha val="9000"/>
                  </a:schemeClr>
                </a:solidFill>
              </a:rPr>
              <a:t>BEER</a:t>
            </a:r>
          </a:p>
          <a:p>
            <a:pPr algn="r"/>
            <a:r>
              <a:rPr lang="en-US" sz="12000" b="1" dirty="0">
                <a:solidFill>
                  <a:schemeClr val="tx1">
                    <a:lumMod val="90000"/>
                    <a:lumOff val="10000"/>
                    <a:alpha val="9000"/>
                  </a:schemeClr>
                </a:solidFill>
              </a:rPr>
              <a:t>MARKET</a:t>
            </a:r>
          </a:p>
          <a:p>
            <a:pPr algn="r"/>
            <a:r>
              <a:rPr lang="en-US" sz="12000" b="1" dirty="0">
                <a:solidFill>
                  <a:schemeClr val="tx1">
                    <a:lumMod val="90000"/>
                    <a:lumOff val="10000"/>
                    <a:alpha val="9000"/>
                  </a:schemeClr>
                </a:solidFill>
              </a:rPr>
              <a:t>ANALYSI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BDFE77-2864-45C4-A541-92EB2EFB195F}"/>
              </a:ext>
            </a:extLst>
          </p:cNvPr>
          <p:cNvSpPr txBox="1"/>
          <p:nvPr/>
        </p:nvSpPr>
        <p:spPr>
          <a:xfrm>
            <a:off x="6075168" y="2371164"/>
            <a:ext cx="4954813" cy="1446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399" b="1" dirty="0">
                <a:solidFill>
                  <a:srgbClr val="AC680E"/>
                </a:solidFill>
              </a:rPr>
              <a:t>LISTEN!</a:t>
            </a:r>
          </a:p>
          <a:p>
            <a:endParaRPr lang="en-US" sz="4399" b="1" dirty="0">
              <a:solidFill>
                <a:schemeClr val="accent4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611181-BF61-41C7-BF9E-0018B2995C62}"/>
              </a:ext>
            </a:extLst>
          </p:cNvPr>
          <p:cNvSpPr txBox="1"/>
          <p:nvPr/>
        </p:nvSpPr>
        <p:spPr>
          <a:xfrm>
            <a:off x="6200048" y="3888081"/>
            <a:ext cx="4158504" cy="30963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dirty="0"/>
              <a:t>Chris, Esther, Utkarsh, Amanda, Antonio, Max, Cheer </a:t>
            </a:r>
          </a:p>
        </p:txBody>
      </p:sp>
      <p:pic>
        <p:nvPicPr>
          <p:cNvPr id="11" name="Picture Placeholder 10" descr="A sign on the side of a building&#10;&#10;Description automatically generated">
            <a:extLst>
              <a:ext uri="{FF2B5EF4-FFF2-40B4-BE49-F238E27FC236}">
                <a16:creationId xmlns:a16="http://schemas.microsoft.com/office/drawing/2014/main" id="{CB1298EF-4D71-F348-8BA8-0ED3349A03C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/>
          <a:srcRect l="9421" t="-1279" r="23958" b="1279"/>
          <a:stretch/>
        </p:blipFill>
        <p:spPr>
          <a:xfrm>
            <a:off x="910685" y="1000878"/>
            <a:ext cx="4693708" cy="4694319"/>
          </a:xfr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A5F3C1C-BAC6-4C5A-B8F5-9E91E1D0A6DA}"/>
              </a:ext>
            </a:extLst>
          </p:cNvPr>
          <p:cNvSpPr txBox="1"/>
          <p:nvPr/>
        </p:nvSpPr>
        <p:spPr>
          <a:xfrm>
            <a:off x="6096000" y="2927195"/>
            <a:ext cx="4954813" cy="1154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899" b="1" dirty="0">
                <a:solidFill>
                  <a:srgbClr val="FFFFFF">
                    <a:lumMod val="90000"/>
                    <a:lumOff val="10000"/>
                  </a:srgbClr>
                </a:solidFill>
                <a:latin typeface="Century Gothic"/>
              </a:rPr>
              <a:t>TEAM E</a:t>
            </a:r>
            <a:endParaRPr lang="en-US" sz="6899" b="1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</a:endParaRPr>
          </a:p>
        </p:txBody>
      </p:sp>
      <p:pic>
        <p:nvPicPr>
          <p:cNvPr id="31" name="Picture Placeholder 30" descr="A sign on the side of a building&#10;&#10;Description automatically generated">
            <a:extLst>
              <a:ext uri="{FF2B5EF4-FFF2-40B4-BE49-F238E27FC236}">
                <a16:creationId xmlns:a16="http://schemas.microsoft.com/office/drawing/2014/main" id="{E9E455A7-95C8-A64B-8306-F0726AC52D8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/>
          <a:srcRect l="10644" t="-3392" r="22689" b="3392"/>
          <a:stretch/>
        </p:blipFill>
        <p:spPr>
          <a:xfrm>
            <a:off x="4705225" y="1267687"/>
            <a:ext cx="1210276" cy="1210435"/>
          </a:xfrm>
        </p:spPr>
      </p:pic>
      <p:pic>
        <p:nvPicPr>
          <p:cNvPr id="35" name="Picture Placeholder 34" descr="A sign on the side of a building&#10;&#10;Description automatically generated">
            <a:extLst>
              <a:ext uri="{FF2B5EF4-FFF2-40B4-BE49-F238E27FC236}">
                <a16:creationId xmlns:a16="http://schemas.microsoft.com/office/drawing/2014/main" id="{59D15F91-B5D4-BA48-A531-ECD953365A2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/>
          <a:srcRect l="10966" t="-518" r="22368" b="518"/>
          <a:stretch/>
        </p:blipFill>
        <p:spPr>
          <a:xfrm>
            <a:off x="4222925" y="4765070"/>
            <a:ext cx="1196780" cy="1196936"/>
          </a:xfrm>
        </p:spPr>
      </p:pic>
      <p:pic>
        <p:nvPicPr>
          <p:cNvPr id="39" name="Picture Placeholder 38" descr="A sign on the side of a building&#10;&#10;Description automatically generated">
            <a:extLst>
              <a:ext uri="{FF2B5EF4-FFF2-40B4-BE49-F238E27FC236}">
                <a16:creationId xmlns:a16="http://schemas.microsoft.com/office/drawing/2014/main" id="{11B85B4E-838F-8047-9F3B-433FC13F464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/>
          <a:srcRect l="10469" t="-16" r="22865" b="16"/>
          <a:stretch/>
        </p:blipFill>
        <p:spPr>
          <a:xfrm>
            <a:off x="1221540" y="4883266"/>
            <a:ext cx="1196771" cy="1196927"/>
          </a:xfrm>
        </p:spPr>
      </p:pic>
    </p:spTree>
    <p:extLst>
      <p:ext uri="{BB962C8B-B14F-4D97-AF65-F5344CB8AC3E}">
        <p14:creationId xmlns:p14="http://schemas.microsoft.com/office/powerpoint/2010/main" val="321369895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27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27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27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1" grpId="0"/>
      <p:bldP spid="2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588" y="1"/>
            <a:ext cx="7445829" cy="6858000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0" y="1757424"/>
            <a:ext cx="10296939" cy="4486732"/>
          </a:xfrm>
          <a:prstGeom prst="rect">
            <a:avLst/>
          </a:prstGeom>
          <a:blipFill dpi="0" rotWithShape="1">
            <a:blip r:embed="rId3">
              <a:alphaModFix amt="75000"/>
            </a:blip>
            <a:srcRect/>
            <a:stretch>
              <a:fillRect t="-18071" b="-18071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 dirty="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12" name="Textfeld 24">
            <a:extLst>
              <a:ext uri="{FF2B5EF4-FFF2-40B4-BE49-F238E27FC236}">
                <a16:creationId xmlns:a16="http://schemas.microsoft.com/office/drawing/2014/main" id="{ADC872EE-5B42-8C41-8883-55D33A2194AE}"/>
              </a:ext>
            </a:extLst>
          </p:cNvPr>
          <p:cNvSpPr txBox="1"/>
          <p:nvPr/>
        </p:nvSpPr>
        <p:spPr>
          <a:xfrm>
            <a:off x="6415949" y="459472"/>
            <a:ext cx="3880990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228600">
              <a:lnSpc>
                <a:spcPts val="3200"/>
              </a:lnSpc>
            </a:pP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Segmentation</a:t>
            </a:r>
          </a:p>
          <a:p>
            <a:pPr algn="r" defTabSz="228600">
              <a:lnSpc>
                <a:spcPts val="3200"/>
              </a:lnSpc>
            </a:pP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-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Retailer</a:t>
            </a:r>
            <a:endParaRPr lang="de-DE" sz="3000" b="1" dirty="0">
              <a:solidFill>
                <a:srgbClr val="212C33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88B644A-0142-8644-BA00-A69D33B4916A}"/>
              </a:ext>
            </a:extLst>
          </p:cNvPr>
          <p:cNvGrpSpPr/>
          <p:nvPr/>
        </p:nvGrpSpPr>
        <p:grpSpPr>
          <a:xfrm>
            <a:off x="5483864" y="1757424"/>
            <a:ext cx="4813075" cy="4486732"/>
            <a:chOff x="13043272" y="3501568"/>
            <a:chExt cx="8771700" cy="8973462"/>
          </a:xfrm>
        </p:grpSpPr>
        <p:sp>
          <p:nvSpPr>
            <p:cNvPr id="26" name="Rechteck 25"/>
            <p:cNvSpPr/>
            <p:nvPr/>
          </p:nvSpPr>
          <p:spPr>
            <a:xfrm>
              <a:off x="13043272" y="3501568"/>
              <a:ext cx="8771700" cy="8973462"/>
            </a:xfrm>
            <a:prstGeom prst="rect">
              <a:avLst/>
            </a:prstGeom>
            <a:gradFill flip="none" rotWithShape="1">
              <a:gsLst>
                <a:gs pos="56000">
                  <a:srgbClr val="FFB733"/>
                </a:gs>
                <a:gs pos="36000">
                  <a:schemeClr val="accent4">
                    <a:lumMod val="40000"/>
                    <a:lumOff val="60000"/>
                  </a:schemeClr>
                </a:gs>
                <a:gs pos="16000">
                  <a:srgbClr val="DDDDDD"/>
                </a:gs>
                <a:gs pos="0">
                  <a:srgbClr val="F8F8F8">
                    <a:alpha val="89804"/>
                  </a:srgbClr>
                </a:gs>
                <a:gs pos="100000">
                  <a:srgbClr val="FF9300"/>
                </a:gs>
              </a:gsLst>
              <a:lin ang="5400000" scaled="0"/>
              <a:tileRect/>
            </a:gradFill>
            <a:ln>
              <a:noFill/>
            </a:ln>
            <a:effectLst>
              <a:outerShdw blurRad="762000" dist="508000" dir="81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 dirty="0">
                <a:solidFill>
                  <a:srgbClr val="F8F8F8"/>
                </a:solidFill>
                <a:latin typeface="Calibri" panose="020F0502020204030204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5CF35A8-D9BC-A345-80D4-E76705A08206}"/>
                </a:ext>
              </a:extLst>
            </p:cNvPr>
            <p:cNvSpPr txBox="1"/>
            <p:nvPr/>
          </p:nvSpPr>
          <p:spPr>
            <a:xfrm>
              <a:off x="14793258" y="5136830"/>
              <a:ext cx="3801364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228600"/>
              <a:r>
                <a:rPr lang="en-US" altLang="zh-TW" sz="24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Supermarket</a:t>
              </a:r>
              <a:endParaRPr lang="en-US" sz="2400" b="1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784ECF1-D6A2-EE4E-A737-0C9E96B7BF18}"/>
                </a:ext>
              </a:extLst>
            </p:cNvPr>
            <p:cNvGrpSpPr/>
            <p:nvPr/>
          </p:nvGrpSpPr>
          <p:grpSpPr>
            <a:xfrm>
              <a:off x="14377812" y="7155364"/>
              <a:ext cx="7236966" cy="3160993"/>
              <a:chOff x="14377812" y="7155364"/>
              <a:chExt cx="7236966" cy="3160993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0EEF83D-468C-FD4E-9BF6-528ADA8D2965}"/>
                  </a:ext>
                </a:extLst>
              </p:cNvPr>
              <p:cNvSpPr txBox="1"/>
              <p:nvPr/>
            </p:nvSpPr>
            <p:spPr>
              <a:xfrm>
                <a:off x="14377812" y="7155364"/>
                <a:ext cx="7236966" cy="316099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342900" indent="-342900" defTabSz="228600">
                  <a:lnSpc>
                    <a:spcPts val="3000"/>
                  </a:lnSpc>
                  <a:buFont typeface="+mj-lt"/>
                  <a:buAutoNum type="arabicPeriod"/>
                </a:pP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PET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;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National</a:t>
                </a:r>
              </a:p>
              <a:p>
                <a:pPr marL="342900" indent="-342900" defTabSz="228600">
                  <a:lnSpc>
                    <a:spcPts val="3000"/>
                  </a:lnSpc>
                  <a:buFont typeface="+mj-lt"/>
                  <a:buAutoNum type="arabicPeriod"/>
                </a:pP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Less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Can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;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Less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Zero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Alcohol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endPara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  <a:p>
                <a:pPr marL="342900" indent="-342900" defTabSz="228600">
                  <a:lnSpc>
                    <a:spcPts val="3000"/>
                  </a:lnSpc>
                  <a:buFont typeface="+mj-lt"/>
                  <a:buAutoNum type="arabicPeriod"/>
                </a:pP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Zero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Alcohol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;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Imported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Premium</a:t>
                </a:r>
                <a:r>
                  <a:rPr lang="zh-TW" altLang="en-US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 </a:t>
                </a:r>
                <a:endPara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  <a:p>
                <a:pPr marL="342900" indent="-342900" defTabSz="228600">
                  <a:lnSpc>
                    <a:spcPts val="3000"/>
                  </a:lnSpc>
                  <a:buFont typeface="+mj-lt"/>
                  <a:buAutoNum type="arabicPeriod"/>
                </a:pPr>
                <a:r>
                  <a:rPr lang="en-US" altLang="zh-TW" sz="1600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Artisans</a:t>
                </a:r>
                <a:endParaRPr lang="en-US" sz="16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A2CDAEB4-0CC9-054F-AD72-0539EFFB3316}"/>
                  </a:ext>
                </a:extLst>
              </p:cNvPr>
              <p:cNvGrpSpPr/>
              <p:nvPr/>
            </p:nvGrpSpPr>
            <p:grpSpPr>
              <a:xfrm>
                <a:off x="14476714" y="7988299"/>
                <a:ext cx="5904813" cy="2309298"/>
                <a:chOff x="13820224" y="7988299"/>
                <a:chExt cx="5904813" cy="2309298"/>
              </a:xfrm>
            </p:grpSpPr>
            <p:cxnSp>
              <p:nvCxnSpPr>
                <p:cNvPr id="5" name="Straight Connector 4">
                  <a:extLst>
                    <a:ext uri="{FF2B5EF4-FFF2-40B4-BE49-F238E27FC236}">
                      <a16:creationId xmlns:a16="http://schemas.microsoft.com/office/drawing/2014/main" id="{6D6BB16F-7B30-4E4C-BD5B-CF964A13AF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20224" y="7988299"/>
                  <a:ext cx="5904813" cy="0"/>
                </a:xfrm>
                <a:prstGeom prst="line">
                  <a:avLst/>
                </a:prstGeom>
                <a:ln>
                  <a:solidFill>
                    <a:schemeClr val="bg1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3A7AE4FA-1884-BE4A-97C9-29440C0429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20224" y="8758065"/>
                  <a:ext cx="5904813" cy="0"/>
                </a:xfrm>
                <a:prstGeom prst="line">
                  <a:avLst/>
                </a:prstGeom>
                <a:ln>
                  <a:solidFill>
                    <a:schemeClr val="bg1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A884753F-F9EA-8C45-BADE-56AE98EEDA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20224" y="10297597"/>
                  <a:ext cx="5904813" cy="0"/>
                </a:xfrm>
                <a:prstGeom prst="line">
                  <a:avLst/>
                </a:prstGeom>
                <a:ln>
                  <a:solidFill>
                    <a:schemeClr val="bg1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C302A1D-601E-E14A-83D4-C83685A58E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20224" y="9527831"/>
                  <a:ext cx="5904813" cy="0"/>
                </a:xfrm>
                <a:prstGeom prst="line">
                  <a:avLst/>
                </a:prstGeom>
                <a:ln>
                  <a:solidFill>
                    <a:schemeClr val="bg1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E3FDF456-15E5-7C43-AB50-BDAE05CF1E08}"/>
              </a:ext>
            </a:extLst>
          </p:cNvPr>
          <p:cNvSpPr txBox="1"/>
          <p:nvPr/>
        </p:nvSpPr>
        <p:spPr>
          <a:xfrm>
            <a:off x="1272753" y="2575055"/>
            <a:ext cx="21291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0"/>
            <a:r>
              <a:rPr lang="en-US" altLang="zh-TW" sz="24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Hypermarket</a:t>
            </a:r>
            <a:endParaRPr lang="en-US" sz="24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2C53D7E-A2B3-D84E-A1DB-278A57AF6744}"/>
              </a:ext>
            </a:extLst>
          </p:cNvPr>
          <p:cNvGrpSpPr/>
          <p:nvPr/>
        </p:nvGrpSpPr>
        <p:grpSpPr>
          <a:xfrm>
            <a:off x="1272753" y="3644776"/>
            <a:ext cx="3265638" cy="1580497"/>
            <a:chOff x="14793258" y="7117156"/>
            <a:chExt cx="6531275" cy="3160993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FA5A458-2564-AE45-B01F-362D1C678AE3}"/>
                </a:ext>
              </a:extLst>
            </p:cNvPr>
            <p:cNvSpPr txBox="1"/>
            <p:nvPr/>
          </p:nvSpPr>
          <p:spPr>
            <a:xfrm>
              <a:off x="14793258" y="7117156"/>
              <a:ext cx="6531275" cy="31609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indent="-342900" defTabSz="228600">
                <a:lnSpc>
                  <a:spcPts val="3000"/>
                </a:lnSpc>
                <a:buFont typeface="+mj-lt"/>
                <a:buAutoNum type="arabicPeriod"/>
              </a:pP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Larger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Store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;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Zero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Alcohol</a:t>
              </a:r>
            </a:p>
            <a:p>
              <a:pPr marL="342900" indent="-342900" defTabSz="228600">
                <a:lnSpc>
                  <a:spcPts val="3000"/>
                </a:lnSpc>
                <a:buFont typeface="+mj-lt"/>
                <a:buAutoNum type="arabicPeriod"/>
              </a:pP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Less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Can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;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Less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Zero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Alcohol</a:t>
              </a:r>
            </a:p>
            <a:p>
              <a:pPr marL="342900" indent="-342900" defTabSz="228600">
                <a:lnSpc>
                  <a:spcPts val="3000"/>
                </a:lnSpc>
                <a:buFont typeface="+mj-lt"/>
                <a:buAutoNum type="arabicPeriod"/>
              </a:pPr>
              <a:r>
                <a:rPr lang="en-US" altLang="zh-TW" sz="1600" dirty="0" err="1">
                  <a:solidFill>
                    <a:srgbClr val="FFFFFF"/>
                  </a:solidFill>
                  <a:latin typeface="Century Gothic" panose="020B0502020202020204" pitchFamily="34" charset="0"/>
                </a:rPr>
                <a:t>Celiacs</a:t>
              </a:r>
              <a:endParaRPr lang="en-US" altLang="zh-TW" sz="16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  <a:p>
              <a:pPr marL="342900" indent="-342900" defTabSz="228600">
                <a:lnSpc>
                  <a:spcPts val="3000"/>
                </a:lnSpc>
                <a:buFont typeface="+mj-lt"/>
                <a:buAutoNum type="arabicPeriod"/>
              </a:pP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Cheaper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;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PET</a:t>
              </a:r>
              <a:r>
                <a:rPr lang="zh-TW" altLang="en-US" sz="16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endParaRPr lang="en-US" sz="14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BFBA69DD-F83E-8B41-A82E-FF70F631A747}"/>
                </a:ext>
              </a:extLst>
            </p:cNvPr>
            <p:cNvGrpSpPr/>
            <p:nvPr/>
          </p:nvGrpSpPr>
          <p:grpSpPr>
            <a:xfrm>
              <a:off x="14922446" y="7988299"/>
              <a:ext cx="5778369" cy="2289850"/>
              <a:chOff x="14265956" y="7988299"/>
              <a:chExt cx="5778369" cy="2289850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B9A3E33-DE41-1B4F-851E-AF75353019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265956" y="7988299"/>
                <a:ext cx="5759999" cy="0"/>
              </a:xfrm>
              <a:prstGeom prst="line">
                <a:avLst/>
              </a:prstGeom>
              <a:ln>
                <a:solidFill>
                  <a:schemeClr val="bg1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C00BC07-175E-FD4E-94F8-458CCEB8A9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265956" y="8735861"/>
                <a:ext cx="5759999" cy="0"/>
              </a:xfrm>
              <a:prstGeom prst="line">
                <a:avLst/>
              </a:prstGeom>
              <a:ln>
                <a:solidFill>
                  <a:schemeClr val="bg1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0A916B5-376B-5240-99B1-3BB9385024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265956" y="9485669"/>
                <a:ext cx="5759999" cy="0"/>
              </a:xfrm>
              <a:prstGeom prst="line">
                <a:avLst/>
              </a:prstGeom>
              <a:ln>
                <a:solidFill>
                  <a:schemeClr val="bg1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3FDD91A-804C-B246-A43E-403A84B1C2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284326" y="10278149"/>
                <a:ext cx="5759999" cy="0"/>
              </a:xfrm>
              <a:prstGeom prst="line">
                <a:avLst/>
              </a:prstGeom>
              <a:ln>
                <a:solidFill>
                  <a:schemeClr val="bg1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93866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0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8931 -0.00092 L -0.21523 -0.00092 " pathEditMode="relative" rAng="0" ptsTypes="AA">
                                      <p:cBhvr>
                                        <p:cTn id="12" dur="3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93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Motion origin="layout" path="M -0.21523 -0.00092 L -6.25E-7 -2.59259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755" y="4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2" presetClass="entr" presetSubtype="8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grpId="1" nodeType="withEffect">
                                  <p:stCondLst>
                                    <p:cond delay="6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20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100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2" presetClass="entr" presetSubtype="1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44" grpId="0"/>
      <p:bldP spid="44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97"/>
          <p:cNvGrpSpPr/>
          <p:nvPr/>
        </p:nvGrpSpPr>
        <p:grpSpPr>
          <a:xfrm>
            <a:off x="3251134" y="804701"/>
            <a:ext cx="5713521" cy="6600356"/>
            <a:chOff x="3677722" y="613211"/>
            <a:chExt cx="4902876" cy="5663884"/>
          </a:xfrm>
        </p:grpSpPr>
        <p:grpSp>
          <p:nvGrpSpPr>
            <p:cNvPr id="20" name="Group 19"/>
            <p:cNvGrpSpPr/>
            <p:nvPr/>
          </p:nvGrpSpPr>
          <p:grpSpPr>
            <a:xfrm>
              <a:off x="3680470" y="2034806"/>
              <a:ext cx="2450895" cy="4242289"/>
              <a:chOff x="1611085" y="2328424"/>
              <a:chExt cx="2171665" cy="3758968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1611085" y="2328424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30" name="Parallelogram 29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31" name="Parallelogram 30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32" name="Parallelogram 31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1611085" y="3161010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27" name="Parallelogram 26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28" name="Parallelogram 27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29" name="Parallelogram 28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1611085" y="3994339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24" name="Parallelogram 23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25" name="Parallelogram 24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26" name="Parallelogram 25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</p:grpSp>
        <p:grpSp>
          <p:nvGrpSpPr>
            <p:cNvPr id="33" name="Group 32"/>
            <p:cNvGrpSpPr/>
            <p:nvPr/>
          </p:nvGrpSpPr>
          <p:grpSpPr>
            <a:xfrm flipH="1">
              <a:off x="6129703" y="2034806"/>
              <a:ext cx="2450895" cy="4242289"/>
              <a:chOff x="1611085" y="2328424"/>
              <a:chExt cx="2171665" cy="3758968"/>
            </a:xfrm>
          </p:grpSpPr>
          <p:grpSp>
            <p:nvGrpSpPr>
              <p:cNvPr id="34" name="Group 33"/>
              <p:cNvGrpSpPr/>
              <p:nvPr/>
            </p:nvGrpSpPr>
            <p:grpSpPr>
              <a:xfrm>
                <a:off x="1611085" y="2328424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43" name="Parallelogram 42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44" name="Parallelogram 43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45" name="Parallelogram 44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1611085" y="3161010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40" name="Parallelogram 39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41" name="Parallelogram 40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42" name="Parallelogram 41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36" name="Group 35"/>
              <p:cNvGrpSpPr/>
              <p:nvPr/>
            </p:nvGrpSpPr>
            <p:grpSpPr>
              <a:xfrm>
                <a:off x="1611085" y="3994339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37" name="Parallelogram 36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38" name="Parallelogram 37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39" name="Parallelogram 38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</p:grpSp>
        <p:grpSp>
          <p:nvGrpSpPr>
            <p:cNvPr id="46" name="Group 45"/>
            <p:cNvGrpSpPr/>
            <p:nvPr/>
          </p:nvGrpSpPr>
          <p:grpSpPr>
            <a:xfrm>
              <a:off x="3677722" y="615513"/>
              <a:ext cx="4900123" cy="2836768"/>
              <a:chOff x="1609614" y="1046008"/>
              <a:chExt cx="4341852" cy="2540188"/>
            </a:xfrm>
          </p:grpSpPr>
          <p:grpSp>
            <p:nvGrpSpPr>
              <p:cNvPr id="47" name="Group 46"/>
              <p:cNvGrpSpPr/>
              <p:nvPr/>
            </p:nvGrpSpPr>
            <p:grpSpPr>
              <a:xfrm>
                <a:off x="3056898" y="1894541"/>
                <a:ext cx="2894568" cy="1691655"/>
                <a:chOff x="3056898" y="1894541"/>
                <a:chExt cx="2894568" cy="1691655"/>
              </a:xfrm>
            </p:grpSpPr>
            <p:sp>
              <p:nvSpPr>
                <p:cNvPr id="56" name="Diamond 55"/>
                <p:cNvSpPr/>
                <p:nvPr/>
              </p:nvSpPr>
              <p:spPr>
                <a:xfrm>
                  <a:off x="3056898" y="2741118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57" name="Diamond 56"/>
                <p:cNvSpPr/>
                <p:nvPr/>
              </p:nvSpPr>
              <p:spPr>
                <a:xfrm>
                  <a:off x="3778101" y="2317897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58" name="Diamond 57"/>
                <p:cNvSpPr/>
                <p:nvPr/>
              </p:nvSpPr>
              <p:spPr>
                <a:xfrm>
                  <a:off x="4502709" y="1894541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48" name="Group 47"/>
              <p:cNvGrpSpPr/>
              <p:nvPr/>
            </p:nvGrpSpPr>
            <p:grpSpPr>
              <a:xfrm>
                <a:off x="2332901" y="1469092"/>
                <a:ext cx="2894568" cy="1691655"/>
                <a:chOff x="3056898" y="1894541"/>
                <a:chExt cx="2894568" cy="1691655"/>
              </a:xfrm>
            </p:grpSpPr>
            <p:sp>
              <p:nvSpPr>
                <p:cNvPr id="53" name="Diamond 52"/>
                <p:cNvSpPr/>
                <p:nvPr/>
              </p:nvSpPr>
              <p:spPr>
                <a:xfrm>
                  <a:off x="3056898" y="2741118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54" name="Diamond 53"/>
                <p:cNvSpPr/>
                <p:nvPr/>
              </p:nvSpPr>
              <p:spPr>
                <a:xfrm>
                  <a:off x="3778101" y="2317897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55" name="Diamond 54"/>
                <p:cNvSpPr/>
                <p:nvPr/>
              </p:nvSpPr>
              <p:spPr>
                <a:xfrm>
                  <a:off x="4502709" y="1894541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49" name="Group 48"/>
              <p:cNvGrpSpPr/>
              <p:nvPr/>
            </p:nvGrpSpPr>
            <p:grpSpPr>
              <a:xfrm>
                <a:off x="1609614" y="1046008"/>
                <a:ext cx="2894568" cy="1691655"/>
                <a:chOff x="3056898" y="1894541"/>
                <a:chExt cx="2894568" cy="1691655"/>
              </a:xfrm>
            </p:grpSpPr>
            <p:sp>
              <p:nvSpPr>
                <p:cNvPr id="50" name="Diamond 49"/>
                <p:cNvSpPr/>
                <p:nvPr/>
              </p:nvSpPr>
              <p:spPr>
                <a:xfrm>
                  <a:off x="3056898" y="2741118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51" name="Diamond 50"/>
                <p:cNvSpPr/>
                <p:nvPr/>
              </p:nvSpPr>
              <p:spPr>
                <a:xfrm>
                  <a:off x="3778101" y="2317897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52" name="Diamond 51"/>
                <p:cNvSpPr/>
                <p:nvPr/>
              </p:nvSpPr>
              <p:spPr>
                <a:xfrm>
                  <a:off x="4502709" y="1894541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</p:grpSp>
        <p:grpSp>
          <p:nvGrpSpPr>
            <p:cNvPr id="59" name="Group 58"/>
            <p:cNvGrpSpPr/>
            <p:nvPr/>
          </p:nvGrpSpPr>
          <p:grpSpPr>
            <a:xfrm>
              <a:off x="3677722" y="3447613"/>
              <a:ext cx="4900123" cy="2829481"/>
              <a:chOff x="1609614" y="1046008"/>
              <a:chExt cx="4341852" cy="2540188"/>
            </a:xfrm>
          </p:grpSpPr>
          <p:grpSp>
            <p:nvGrpSpPr>
              <p:cNvPr id="60" name="Group 59"/>
              <p:cNvGrpSpPr/>
              <p:nvPr/>
            </p:nvGrpSpPr>
            <p:grpSpPr>
              <a:xfrm>
                <a:off x="3056898" y="1894541"/>
                <a:ext cx="2894568" cy="1691655"/>
                <a:chOff x="3056898" y="1894541"/>
                <a:chExt cx="2894568" cy="1691655"/>
              </a:xfrm>
            </p:grpSpPr>
            <p:sp>
              <p:nvSpPr>
                <p:cNvPr id="69" name="Diamond 68"/>
                <p:cNvSpPr/>
                <p:nvPr/>
              </p:nvSpPr>
              <p:spPr>
                <a:xfrm>
                  <a:off x="3056898" y="2741118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70" name="Diamond 69"/>
                <p:cNvSpPr/>
                <p:nvPr/>
              </p:nvSpPr>
              <p:spPr>
                <a:xfrm>
                  <a:off x="3778101" y="2317897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71" name="Diamond 70"/>
                <p:cNvSpPr/>
                <p:nvPr/>
              </p:nvSpPr>
              <p:spPr>
                <a:xfrm>
                  <a:off x="4502709" y="1894541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61" name="Group 60"/>
              <p:cNvGrpSpPr/>
              <p:nvPr/>
            </p:nvGrpSpPr>
            <p:grpSpPr>
              <a:xfrm>
                <a:off x="2332901" y="1469092"/>
                <a:ext cx="2894568" cy="1691655"/>
                <a:chOff x="3056898" y="1894541"/>
                <a:chExt cx="2894568" cy="1691655"/>
              </a:xfrm>
            </p:grpSpPr>
            <p:sp>
              <p:nvSpPr>
                <p:cNvPr id="66" name="Diamond 65"/>
                <p:cNvSpPr/>
                <p:nvPr/>
              </p:nvSpPr>
              <p:spPr>
                <a:xfrm>
                  <a:off x="3056898" y="2741118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67" name="Diamond 66"/>
                <p:cNvSpPr/>
                <p:nvPr/>
              </p:nvSpPr>
              <p:spPr>
                <a:xfrm>
                  <a:off x="3778101" y="2317897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68" name="Diamond 67"/>
                <p:cNvSpPr/>
                <p:nvPr/>
              </p:nvSpPr>
              <p:spPr>
                <a:xfrm>
                  <a:off x="4502709" y="1894541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62" name="Group 61"/>
              <p:cNvGrpSpPr/>
              <p:nvPr/>
            </p:nvGrpSpPr>
            <p:grpSpPr>
              <a:xfrm>
                <a:off x="1609614" y="1046008"/>
                <a:ext cx="2894568" cy="1691655"/>
                <a:chOff x="3056898" y="1894541"/>
                <a:chExt cx="2894568" cy="1691655"/>
              </a:xfrm>
            </p:grpSpPr>
            <p:sp>
              <p:nvSpPr>
                <p:cNvPr id="63" name="Diamond 62"/>
                <p:cNvSpPr/>
                <p:nvPr/>
              </p:nvSpPr>
              <p:spPr>
                <a:xfrm>
                  <a:off x="3056898" y="2741118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64" name="Diamond 63"/>
                <p:cNvSpPr/>
                <p:nvPr/>
              </p:nvSpPr>
              <p:spPr>
                <a:xfrm>
                  <a:off x="3778101" y="2317897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65" name="Diamond 64"/>
                <p:cNvSpPr/>
                <p:nvPr/>
              </p:nvSpPr>
              <p:spPr>
                <a:xfrm>
                  <a:off x="4502709" y="1894541"/>
                  <a:ext cx="1448757" cy="845078"/>
                </a:xfrm>
                <a:prstGeom prst="diamond">
                  <a:avLst/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</p:grpSp>
        <p:grpSp>
          <p:nvGrpSpPr>
            <p:cNvPr id="72" name="Group 71"/>
            <p:cNvGrpSpPr/>
            <p:nvPr/>
          </p:nvGrpSpPr>
          <p:grpSpPr>
            <a:xfrm rot="10800000">
              <a:off x="6129703" y="618881"/>
              <a:ext cx="2450895" cy="4248572"/>
              <a:chOff x="1611085" y="2328424"/>
              <a:chExt cx="2171665" cy="3758968"/>
            </a:xfrm>
          </p:grpSpPr>
          <p:grpSp>
            <p:nvGrpSpPr>
              <p:cNvPr id="73" name="Group 72"/>
              <p:cNvGrpSpPr/>
              <p:nvPr/>
            </p:nvGrpSpPr>
            <p:grpSpPr>
              <a:xfrm>
                <a:off x="1611085" y="2328424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82" name="Parallelogram 81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83" name="Parallelogram 82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84" name="Parallelogram 83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74" name="Group 73"/>
              <p:cNvGrpSpPr/>
              <p:nvPr/>
            </p:nvGrpSpPr>
            <p:grpSpPr>
              <a:xfrm>
                <a:off x="1611085" y="3161010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79" name="Parallelogram 78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80" name="Parallelogram 79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81" name="Parallelogram 80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75" name="Group 74"/>
              <p:cNvGrpSpPr/>
              <p:nvPr/>
            </p:nvGrpSpPr>
            <p:grpSpPr>
              <a:xfrm>
                <a:off x="1611085" y="3994339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76" name="Parallelogram 75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77" name="Parallelogram 76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78" name="Parallelogram 77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</p:grpSp>
        <p:grpSp>
          <p:nvGrpSpPr>
            <p:cNvPr id="85" name="Group 84"/>
            <p:cNvGrpSpPr/>
            <p:nvPr/>
          </p:nvGrpSpPr>
          <p:grpSpPr>
            <a:xfrm rot="10800000" flipH="1">
              <a:off x="3680469" y="613211"/>
              <a:ext cx="2450895" cy="4248572"/>
              <a:chOff x="1611085" y="2328424"/>
              <a:chExt cx="2171665" cy="3758968"/>
            </a:xfrm>
          </p:grpSpPr>
          <p:grpSp>
            <p:nvGrpSpPr>
              <p:cNvPr id="86" name="Group 85"/>
              <p:cNvGrpSpPr/>
              <p:nvPr/>
            </p:nvGrpSpPr>
            <p:grpSpPr>
              <a:xfrm>
                <a:off x="1611085" y="2328424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95" name="Parallelogram 94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96" name="Parallelogram 95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97" name="Parallelogram 96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87" name="Group 86"/>
              <p:cNvGrpSpPr/>
              <p:nvPr/>
            </p:nvGrpSpPr>
            <p:grpSpPr>
              <a:xfrm>
                <a:off x="1611085" y="3161010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92" name="Parallelogram 91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93" name="Parallelogram 92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94" name="Parallelogram 93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  <p:grpSp>
            <p:nvGrpSpPr>
              <p:cNvPr id="88" name="Group 87"/>
              <p:cNvGrpSpPr/>
              <p:nvPr/>
            </p:nvGrpSpPr>
            <p:grpSpPr>
              <a:xfrm>
                <a:off x="1611085" y="3994339"/>
                <a:ext cx="2171665" cy="2093053"/>
                <a:chOff x="1611085" y="2328424"/>
                <a:chExt cx="4960524" cy="4780959"/>
              </a:xfrm>
            </p:grpSpPr>
            <p:sp>
              <p:nvSpPr>
                <p:cNvPr id="89" name="Parallelogram 88"/>
                <p:cNvSpPr/>
                <p:nvPr/>
              </p:nvSpPr>
              <p:spPr>
                <a:xfrm rot="5400000">
                  <a:off x="1005528" y="2933981"/>
                  <a:ext cx="2865744" cy="1654630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90" name="Parallelogram 89"/>
                <p:cNvSpPr/>
                <p:nvPr/>
              </p:nvSpPr>
              <p:spPr>
                <a:xfrm rot="5400000">
                  <a:off x="2656793" y="3887663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  <p:sp>
              <p:nvSpPr>
                <p:cNvPr id="91" name="Parallelogram 90"/>
                <p:cNvSpPr/>
                <p:nvPr/>
              </p:nvSpPr>
              <p:spPr>
                <a:xfrm rot="5400000">
                  <a:off x="4311422" y="4849196"/>
                  <a:ext cx="2865743" cy="1654631"/>
                </a:xfrm>
                <a:prstGeom prst="parallelogram">
                  <a:avLst>
                    <a:gd name="adj" fmla="val 58044"/>
                  </a:avLst>
                </a:prstGeom>
                <a:noFill/>
                <a:ln w="635">
                  <a:solidFill>
                    <a:schemeClr val="accent1">
                      <a:lumMod val="20000"/>
                      <a:lumOff val="80000"/>
                      <a:alpha val="8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n-US">
                    <a:solidFill>
                      <a:srgbClr val="FFFFFF"/>
                    </a:solidFill>
                    <a:latin typeface="Roboto"/>
                  </a:endParaRPr>
                </a:p>
              </p:txBody>
            </p:sp>
          </p:grpSp>
        </p:grpSp>
      </p:grp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343E1A6A-A016-FF4C-8E69-1B5D78E68F26}"/>
              </a:ext>
            </a:extLst>
          </p:cNvPr>
          <p:cNvCxnSpPr>
            <a:cxnSpLocks/>
          </p:cNvCxnSpPr>
          <p:nvPr/>
        </p:nvCxnSpPr>
        <p:spPr>
          <a:xfrm>
            <a:off x="2928730" y="2880208"/>
            <a:ext cx="1392485" cy="6836"/>
          </a:xfrm>
          <a:prstGeom prst="line">
            <a:avLst/>
          </a:prstGeom>
          <a:ln>
            <a:solidFill>
              <a:srgbClr val="E88604"/>
            </a:solidFill>
            <a:prstDash val="sysDot"/>
            <a:head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D38FC902-EDD1-8444-8A83-286F29AC2D6E}"/>
              </a:ext>
            </a:extLst>
          </p:cNvPr>
          <p:cNvCxnSpPr>
            <a:cxnSpLocks/>
          </p:cNvCxnSpPr>
          <p:nvPr/>
        </p:nvCxnSpPr>
        <p:spPr>
          <a:xfrm>
            <a:off x="1098379" y="4849596"/>
            <a:ext cx="3222836" cy="0"/>
          </a:xfrm>
          <a:prstGeom prst="line">
            <a:avLst/>
          </a:prstGeom>
          <a:ln>
            <a:solidFill>
              <a:schemeClr val="accent2"/>
            </a:solidFill>
            <a:prstDash val="sysDot"/>
            <a:head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AC6DCC06-C190-F64B-B87A-6B847D37BE5C}"/>
              </a:ext>
            </a:extLst>
          </p:cNvPr>
          <p:cNvCxnSpPr>
            <a:cxnSpLocks/>
          </p:cNvCxnSpPr>
          <p:nvPr/>
        </p:nvCxnSpPr>
        <p:spPr>
          <a:xfrm flipH="1">
            <a:off x="7870287" y="2891925"/>
            <a:ext cx="3218688" cy="0"/>
          </a:xfrm>
          <a:prstGeom prst="line">
            <a:avLst/>
          </a:prstGeom>
          <a:ln>
            <a:solidFill>
              <a:srgbClr val="AC680E"/>
            </a:solidFill>
            <a:prstDash val="sysDot"/>
            <a:head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1A011A0-E548-5D49-9BC5-CC6E4A4773EC}"/>
              </a:ext>
            </a:extLst>
          </p:cNvPr>
          <p:cNvCxnSpPr>
            <a:cxnSpLocks/>
          </p:cNvCxnSpPr>
          <p:nvPr/>
        </p:nvCxnSpPr>
        <p:spPr>
          <a:xfrm flipH="1">
            <a:off x="7870287" y="4849596"/>
            <a:ext cx="3218688" cy="0"/>
          </a:xfrm>
          <a:prstGeom prst="line">
            <a:avLst/>
          </a:prstGeom>
          <a:ln>
            <a:solidFill>
              <a:schemeClr val="accent3"/>
            </a:solidFill>
            <a:prstDash val="sysDot"/>
            <a:head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Группа 53">
            <a:extLst>
              <a:ext uri="{FF2B5EF4-FFF2-40B4-BE49-F238E27FC236}">
                <a16:creationId xmlns:a16="http://schemas.microsoft.com/office/drawing/2014/main" id="{6C6319CC-F659-4946-A668-DA1A5A9212A3}"/>
              </a:ext>
            </a:extLst>
          </p:cNvPr>
          <p:cNvGrpSpPr>
            <a:grpSpLocks noChangeAspect="1"/>
          </p:cNvGrpSpPr>
          <p:nvPr/>
        </p:nvGrpSpPr>
        <p:grpSpPr>
          <a:xfrm>
            <a:off x="5827060" y="3617367"/>
            <a:ext cx="2353055" cy="2353056"/>
            <a:chOff x="4416723" y="4770562"/>
            <a:chExt cx="4434177" cy="4434178"/>
          </a:xfrm>
        </p:grpSpPr>
        <p:grpSp>
          <p:nvGrpSpPr>
            <p:cNvPr id="113" name="Группа 55">
              <a:extLst>
                <a:ext uri="{FF2B5EF4-FFF2-40B4-BE49-F238E27FC236}">
                  <a16:creationId xmlns:a16="http://schemas.microsoft.com/office/drawing/2014/main" id="{4BFFDF0F-817A-E242-B68C-ECB95BBF14C2}"/>
                </a:ext>
              </a:extLst>
            </p:cNvPr>
            <p:cNvGrpSpPr/>
            <p:nvPr/>
          </p:nvGrpSpPr>
          <p:grpSpPr>
            <a:xfrm>
              <a:off x="4416723" y="4770562"/>
              <a:ext cx="4434177" cy="4434178"/>
              <a:chOff x="9012095" y="4541398"/>
              <a:chExt cx="9073006" cy="9073008"/>
            </a:xfrm>
          </p:grpSpPr>
          <p:sp>
            <p:nvSpPr>
              <p:cNvPr id="115" name="Овал 57">
                <a:extLst>
                  <a:ext uri="{FF2B5EF4-FFF2-40B4-BE49-F238E27FC236}">
                    <a16:creationId xmlns:a16="http://schemas.microsoft.com/office/drawing/2014/main" id="{1A2699C3-CF0C-274A-8041-60DBFA3994AA}"/>
                  </a:ext>
                </a:extLst>
              </p:cNvPr>
              <p:cNvSpPr/>
              <p:nvPr/>
            </p:nvSpPr>
            <p:spPr>
              <a:xfrm>
                <a:off x="9012095" y="4541398"/>
                <a:ext cx="9073006" cy="9073008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 dirty="0">
                  <a:solidFill>
                    <a:srgbClr val="FFFFFF"/>
                  </a:solidFill>
                  <a:latin typeface="Roboto"/>
                </a:endParaRPr>
              </a:p>
            </p:txBody>
          </p:sp>
          <p:sp>
            <p:nvSpPr>
              <p:cNvPr id="116" name="Овал 58">
                <a:extLst>
                  <a:ext uri="{FF2B5EF4-FFF2-40B4-BE49-F238E27FC236}">
                    <a16:creationId xmlns:a16="http://schemas.microsoft.com/office/drawing/2014/main" id="{4677C5DD-88D3-B24E-A5EA-205DC5DE8BBE}"/>
                  </a:ext>
                </a:extLst>
              </p:cNvPr>
              <p:cNvSpPr/>
              <p:nvPr/>
            </p:nvSpPr>
            <p:spPr>
              <a:xfrm>
                <a:off x="9039547" y="4999726"/>
                <a:ext cx="8614680" cy="8614680"/>
              </a:xfrm>
              <a:prstGeom prst="ellipse">
                <a:avLst/>
              </a:prstGeom>
              <a:gradFill>
                <a:gsLst>
                  <a:gs pos="100000">
                    <a:schemeClr val="bg1"/>
                  </a:gs>
                  <a:gs pos="63000">
                    <a:schemeClr val="bg1">
                      <a:alpha val="0"/>
                    </a:schemeClr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>
                  <a:solidFill>
                    <a:srgbClr val="FFFFFF"/>
                  </a:solidFill>
                  <a:latin typeface="Roboto"/>
                </a:endParaRPr>
              </a:p>
            </p:txBody>
          </p:sp>
        </p:grpSp>
        <p:sp>
          <p:nvSpPr>
            <p:cNvPr id="114" name="Полилиния 56">
              <a:extLst>
                <a:ext uri="{FF2B5EF4-FFF2-40B4-BE49-F238E27FC236}">
                  <a16:creationId xmlns:a16="http://schemas.microsoft.com/office/drawing/2014/main" id="{4EE5B71B-45A9-4141-8D1F-112E2D75CA25}"/>
                </a:ext>
              </a:extLst>
            </p:cNvPr>
            <p:cNvSpPr/>
            <p:nvPr/>
          </p:nvSpPr>
          <p:spPr>
            <a:xfrm>
              <a:off x="6937003" y="4914578"/>
              <a:ext cx="1514105" cy="1156016"/>
            </a:xfrm>
            <a:custGeom>
              <a:avLst/>
              <a:gdLst>
                <a:gd name="connsiteX0" fmla="*/ 0 w 9177188"/>
                <a:gd name="connsiteY0" fmla="*/ 9812892 h 10921772"/>
                <a:gd name="connsiteX1" fmla="*/ 256304 w 9177188"/>
                <a:gd name="connsiteY1" fmla="*/ 9845460 h 10921772"/>
                <a:gd name="connsiteX2" fmla="*/ 841615 w 9177188"/>
                <a:gd name="connsiteY2" fmla="*/ 9875016 h 10921772"/>
                <a:gd name="connsiteX3" fmla="*/ 1136204 w 9177188"/>
                <a:gd name="connsiteY3" fmla="*/ 9867567 h 10921772"/>
                <a:gd name="connsiteX4" fmla="*/ 1325711 w 9177188"/>
                <a:gd name="connsiteY4" fmla="*/ 9853157 h 10921772"/>
                <a:gd name="connsiteX5" fmla="*/ 1370115 w 9177188"/>
                <a:gd name="connsiteY5" fmla="*/ 10045552 h 10921772"/>
                <a:gd name="connsiteX6" fmla="*/ 1639759 w 9177188"/>
                <a:gd name="connsiteY6" fmla="*/ 10843163 h 10921772"/>
                <a:gd name="connsiteX7" fmla="*/ 1675297 w 9177188"/>
                <a:gd name="connsiteY7" fmla="*/ 10921772 h 10921772"/>
                <a:gd name="connsiteX8" fmla="*/ 1456094 w 9177188"/>
                <a:gd name="connsiteY8" fmla="*/ 10822673 h 10921772"/>
                <a:gd name="connsiteX9" fmla="*/ 139953 w 9177188"/>
                <a:gd name="connsiteY9" fmla="*/ 9945926 h 10921772"/>
                <a:gd name="connsiteX10" fmla="*/ 4782086 w 9177188"/>
                <a:gd name="connsiteY10" fmla="*/ 0 h 10921772"/>
                <a:gd name="connsiteX11" fmla="*/ 5178772 w 9177188"/>
                <a:gd name="connsiteY11" fmla="*/ 72751 h 10921772"/>
                <a:gd name="connsiteX12" fmla="*/ 9098084 w 9177188"/>
                <a:gd name="connsiteY12" fmla="*/ 3180682 h 10921772"/>
                <a:gd name="connsiteX13" fmla="*/ 9177188 w 9177188"/>
                <a:gd name="connsiteY13" fmla="*/ 3355652 h 10921772"/>
                <a:gd name="connsiteX14" fmla="*/ 9142812 w 9177188"/>
                <a:gd name="connsiteY14" fmla="*/ 3340111 h 10921772"/>
                <a:gd name="connsiteX15" fmla="*/ 6914524 w 9177188"/>
                <a:gd name="connsiteY15" fmla="*/ 2890240 h 10921772"/>
                <a:gd name="connsiteX16" fmla="*/ 6619934 w 9177188"/>
                <a:gd name="connsiteY16" fmla="*/ 2897689 h 10921772"/>
                <a:gd name="connsiteX17" fmla="*/ 6430430 w 9177188"/>
                <a:gd name="connsiteY17" fmla="*/ 2912099 h 10921772"/>
                <a:gd name="connsiteX18" fmla="*/ 6386026 w 9177188"/>
                <a:gd name="connsiteY18" fmla="*/ 2719705 h 10921772"/>
                <a:gd name="connsiteX19" fmla="*/ 4889544 w 9177188"/>
                <a:gd name="connsiteY19" fmla="*/ 102451 h 10921772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456094 w 9177188"/>
                <a:gd name="connsiteY7" fmla="*/ 10822673 h 10843163"/>
                <a:gd name="connsiteX8" fmla="*/ 139953 w 9177188"/>
                <a:gd name="connsiteY8" fmla="*/ 9945926 h 10843163"/>
                <a:gd name="connsiteX9" fmla="*/ 0 w 9177188"/>
                <a:gd name="connsiteY9" fmla="*/ 9812892 h 10843163"/>
                <a:gd name="connsiteX10" fmla="*/ 4782086 w 9177188"/>
                <a:gd name="connsiteY10" fmla="*/ 0 h 10843163"/>
                <a:gd name="connsiteX11" fmla="*/ 5178772 w 9177188"/>
                <a:gd name="connsiteY11" fmla="*/ 72751 h 10843163"/>
                <a:gd name="connsiteX12" fmla="*/ 9098084 w 9177188"/>
                <a:gd name="connsiteY12" fmla="*/ 3180682 h 10843163"/>
                <a:gd name="connsiteX13" fmla="*/ 9177188 w 9177188"/>
                <a:gd name="connsiteY13" fmla="*/ 3355652 h 10843163"/>
                <a:gd name="connsiteX14" fmla="*/ 9142812 w 9177188"/>
                <a:gd name="connsiteY14" fmla="*/ 3340111 h 10843163"/>
                <a:gd name="connsiteX15" fmla="*/ 6914524 w 9177188"/>
                <a:gd name="connsiteY15" fmla="*/ 2890240 h 10843163"/>
                <a:gd name="connsiteX16" fmla="*/ 6619934 w 9177188"/>
                <a:gd name="connsiteY16" fmla="*/ 2897689 h 10843163"/>
                <a:gd name="connsiteX17" fmla="*/ 6430430 w 9177188"/>
                <a:gd name="connsiteY17" fmla="*/ 2912099 h 10843163"/>
                <a:gd name="connsiteX18" fmla="*/ 6386026 w 9177188"/>
                <a:gd name="connsiteY18" fmla="*/ 2719705 h 10843163"/>
                <a:gd name="connsiteX19" fmla="*/ 4889544 w 9177188"/>
                <a:gd name="connsiteY19" fmla="*/ 102451 h 10843163"/>
                <a:gd name="connsiteX20" fmla="*/ 4782086 w 9177188"/>
                <a:gd name="connsiteY20" fmla="*/ 0 h 10843163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39953 w 9177188"/>
                <a:gd name="connsiteY7" fmla="*/ 9945926 h 10843163"/>
                <a:gd name="connsiteX8" fmla="*/ 0 w 9177188"/>
                <a:gd name="connsiteY8" fmla="*/ 9812892 h 10843163"/>
                <a:gd name="connsiteX9" fmla="*/ 4782086 w 9177188"/>
                <a:gd name="connsiteY9" fmla="*/ 0 h 10843163"/>
                <a:gd name="connsiteX10" fmla="*/ 5178772 w 9177188"/>
                <a:gd name="connsiteY10" fmla="*/ 72751 h 10843163"/>
                <a:gd name="connsiteX11" fmla="*/ 9098084 w 9177188"/>
                <a:gd name="connsiteY11" fmla="*/ 3180682 h 10843163"/>
                <a:gd name="connsiteX12" fmla="*/ 9177188 w 9177188"/>
                <a:gd name="connsiteY12" fmla="*/ 3355652 h 10843163"/>
                <a:gd name="connsiteX13" fmla="*/ 9142812 w 9177188"/>
                <a:gd name="connsiteY13" fmla="*/ 3340111 h 10843163"/>
                <a:gd name="connsiteX14" fmla="*/ 6914524 w 9177188"/>
                <a:gd name="connsiteY14" fmla="*/ 2890240 h 10843163"/>
                <a:gd name="connsiteX15" fmla="*/ 6619934 w 9177188"/>
                <a:gd name="connsiteY15" fmla="*/ 2897689 h 10843163"/>
                <a:gd name="connsiteX16" fmla="*/ 6430430 w 9177188"/>
                <a:gd name="connsiteY16" fmla="*/ 2912099 h 10843163"/>
                <a:gd name="connsiteX17" fmla="*/ 6386026 w 9177188"/>
                <a:gd name="connsiteY17" fmla="*/ 2719705 h 10843163"/>
                <a:gd name="connsiteX18" fmla="*/ 4889544 w 9177188"/>
                <a:gd name="connsiteY18" fmla="*/ 102451 h 10843163"/>
                <a:gd name="connsiteX19" fmla="*/ 4782086 w 9177188"/>
                <a:gd name="connsiteY19" fmla="*/ 0 h 10843163"/>
                <a:gd name="connsiteX0" fmla="*/ 0 w 9177188"/>
                <a:gd name="connsiteY0" fmla="*/ 9812892 h 10047590"/>
                <a:gd name="connsiteX1" fmla="*/ 256304 w 9177188"/>
                <a:gd name="connsiteY1" fmla="*/ 9845460 h 10047590"/>
                <a:gd name="connsiteX2" fmla="*/ 841615 w 9177188"/>
                <a:gd name="connsiteY2" fmla="*/ 9875016 h 10047590"/>
                <a:gd name="connsiteX3" fmla="*/ 1136204 w 9177188"/>
                <a:gd name="connsiteY3" fmla="*/ 9867567 h 10047590"/>
                <a:gd name="connsiteX4" fmla="*/ 1325711 w 9177188"/>
                <a:gd name="connsiteY4" fmla="*/ 9853157 h 10047590"/>
                <a:gd name="connsiteX5" fmla="*/ 1370115 w 9177188"/>
                <a:gd name="connsiteY5" fmla="*/ 10045552 h 10047590"/>
                <a:gd name="connsiteX6" fmla="*/ 139953 w 9177188"/>
                <a:gd name="connsiteY6" fmla="*/ 9945926 h 10047590"/>
                <a:gd name="connsiteX7" fmla="*/ 0 w 9177188"/>
                <a:gd name="connsiteY7" fmla="*/ 9812892 h 10047590"/>
                <a:gd name="connsiteX8" fmla="*/ 4782086 w 9177188"/>
                <a:gd name="connsiteY8" fmla="*/ 0 h 10047590"/>
                <a:gd name="connsiteX9" fmla="*/ 5178772 w 9177188"/>
                <a:gd name="connsiteY9" fmla="*/ 72751 h 10047590"/>
                <a:gd name="connsiteX10" fmla="*/ 9098084 w 9177188"/>
                <a:gd name="connsiteY10" fmla="*/ 3180682 h 10047590"/>
                <a:gd name="connsiteX11" fmla="*/ 9177188 w 9177188"/>
                <a:gd name="connsiteY11" fmla="*/ 3355652 h 10047590"/>
                <a:gd name="connsiteX12" fmla="*/ 9142812 w 9177188"/>
                <a:gd name="connsiteY12" fmla="*/ 3340111 h 10047590"/>
                <a:gd name="connsiteX13" fmla="*/ 6914524 w 9177188"/>
                <a:gd name="connsiteY13" fmla="*/ 2890240 h 10047590"/>
                <a:gd name="connsiteX14" fmla="*/ 6619934 w 9177188"/>
                <a:gd name="connsiteY14" fmla="*/ 2897689 h 10047590"/>
                <a:gd name="connsiteX15" fmla="*/ 6430430 w 9177188"/>
                <a:gd name="connsiteY15" fmla="*/ 2912099 h 10047590"/>
                <a:gd name="connsiteX16" fmla="*/ 6386026 w 9177188"/>
                <a:gd name="connsiteY16" fmla="*/ 2719705 h 10047590"/>
                <a:gd name="connsiteX17" fmla="*/ 4889544 w 9177188"/>
                <a:gd name="connsiteY17" fmla="*/ 102451 h 10047590"/>
                <a:gd name="connsiteX18" fmla="*/ 4782086 w 9177188"/>
                <a:gd name="connsiteY18" fmla="*/ 0 h 10047590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25711 w 9177188"/>
                <a:gd name="connsiteY4" fmla="*/ 9853157 h 9945926"/>
                <a:gd name="connsiteX5" fmla="*/ 139953 w 9177188"/>
                <a:gd name="connsiteY5" fmla="*/ 9945926 h 9945926"/>
                <a:gd name="connsiteX6" fmla="*/ 0 w 9177188"/>
                <a:gd name="connsiteY6" fmla="*/ 9812892 h 9945926"/>
                <a:gd name="connsiteX7" fmla="*/ 4782086 w 9177188"/>
                <a:gd name="connsiteY7" fmla="*/ 0 h 9945926"/>
                <a:gd name="connsiteX8" fmla="*/ 5178772 w 9177188"/>
                <a:gd name="connsiteY8" fmla="*/ 72751 h 9945926"/>
                <a:gd name="connsiteX9" fmla="*/ 9098084 w 9177188"/>
                <a:gd name="connsiteY9" fmla="*/ 3180682 h 9945926"/>
                <a:gd name="connsiteX10" fmla="*/ 9177188 w 9177188"/>
                <a:gd name="connsiteY10" fmla="*/ 3355652 h 9945926"/>
                <a:gd name="connsiteX11" fmla="*/ 9142812 w 9177188"/>
                <a:gd name="connsiteY11" fmla="*/ 3340111 h 9945926"/>
                <a:gd name="connsiteX12" fmla="*/ 6914524 w 9177188"/>
                <a:gd name="connsiteY12" fmla="*/ 2890240 h 9945926"/>
                <a:gd name="connsiteX13" fmla="*/ 6619934 w 9177188"/>
                <a:gd name="connsiteY13" fmla="*/ 2897689 h 9945926"/>
                <a:gd name="connsiteX14" fmla="*/ 6430430 w 9177188"/>
                <a:gd name="connsiteY14" fmla="*/ 2912099 h 9945926"/>
                <a:gd name="connsiteX15" fmla="*/ 6386026 w 9177188"/>
                <a:gd name="connsiteY15" fmla="*/ 2719705 h 9945926"/>
                <a:gd name="connsiteX16" fmla="*/ 4889544 w 9177188"/>
                <a:gd name="connsiteY16" fmla="*/ 102451 h 9945926"/>
                <a:gd name="connsiteX17" fmla="*/ 4782086 w 9177188"/>
                <a:gd name="connsiteY17" fmla="*/ 0 h 9945926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9953 w 9177188"/>
                <a:gd name="connsiteY4" fmla="*/ 9945926 h 9945926"/>
                <a:gd name="connsiteX5" fmla="*/ 0 w 9177188"/>
                <a:gd name="connsiteY5" fmla="*/ 9812892 h 9945926"/>
                <a:gd name="connsiteX6" fmla="*/ 4782086 w 9177188"/>
                <a:gd name="connsiteY6" fmla="*/ 0 h 9945926"/>
                <a:gd name="connsiteX7" fmla="*/ 5178772 w 9177188"/>
                <a:gd name="connsiteY7" fmla="*/ 72751 h 9945926"/>
                <a:gd name="connsiteX8" fmla="*/ 9098084 w 9177188"/>
                <a:gd name="connsiteY8" fmla="*/ 3180682 h 9945926"/>
                <a:gd name="connsiteX9" fmla="*/ 9177188 w 9177188"/>
                <a:gd name="connsiteY9" fmla="*/ 3355652 h 9945926"/>
                <a:gd name="connsiteX10" fmla="*/ 9142812 w 9177188"/>
                <a:gd name="connsiteY10" fmla="*/ 3340111 h 9945926"/>
                <a:gd name="connsiteX11" fmla="*/ 6914524 w 9177188"/>
                <a:gd name="connsiteY11" fmla="*/ 2890240 h 9945926"/>
                <a:gd name="connsiteX12" fmla="*/ 6619934 w 9177188"/>
                <a:gd name="connsiteY12" fmla="*/ 2897689 h 9945926"/>
                <a:gd name="connsiteX13" fmla="*/ 6430430 w 9177188"/>
                <a:gd name="connsiteY13" fmla="*/ 2912099 h 9945926"/>
                <a:gd name="connsiteX14" fmla="*/ 6386026 w 9177188"/>
                <a:gd name="connsiteY14" fmla="*/ 2719705 h 9945926"/>
                <a:gd name="connsiteX15" fmla="*/ 4889544 w 9177188"/>
                <a:gd name="connsiteY15" fmla="*/ 102451 h 9945926"/>
                <a:gd name="connsiteX16" fmla="*/ 4782086 w 9177188"/>
                <a:gd name="connsiteY16" fmla="*/ 0 h 9945926"/>
                <a:gd name="connsiteX0" fmla="*/ 0 w 9177188"/>
                <a:gd name="connsiteY0" fmla="*/ 9812892 h 9947044"/>
                <a:gd name="connsiteX1" fmla="*/ 256304 w 9177188"/>
                <a:gd name="connsiteY1" fmla="*/ 9845460 h 9947044"/>
                <a:gd name="connsiteX2" fmla="*/ 841615 w 9177188"/>
                <a:gd name="connsiteY2" fmla="*/ 9875016 h 9947044"/>
                <a:gd name="connsiteX3" fmla="*/ 139953 w 9177188"/>
                <a:gd name="connsiteY3" fmla="*/ 9945926 h 9947044"/>
                <a:gd name="connsiteX4" fmla="*/ 0 w 9177188"/>
                <a:gd name="connsiteY4" fmla="*/ 9812892 h 9947044"/>
                <a:gd name="connsiteX5" fmla="*/ 4782086 w 9177188"/>
                <a:gd name="connsiteY5" fmla="*/ 0 h 9947044"/>
                <a:gd name="connsiteX6" fmla="*/ 5178772 w 9177188"/>
                <a:gd name="connsiteY6" fmla="*/ 72751 h 9947044"/>
                <a:gd name="connsiteX7" fmla="*/ 9098084 w 9177188"/>
                <a:gd name="connsiteY7" fmla="*/ 3180682 h 9947044"/>
                <a:gd name="connsiteX8" fmla="*/ 9177188 w 9177188"/>
                <a:gd name="connsiteY8" fmla="*/ 3355652 h 9947044"/>
                <a:gd name="connsiteX9" fmla="*/ 9142812 w 9177188"/>
                <a:gd name="connsiteY9" fmla="*/ 3340111 h 9947044"/>
                <a:gd name="connsiteX10" fmla="*/ 6914524 w 9177188"/>
                <a:gd name="connsiteY10" fmla="*/ 2890240 h 9947044"/>
                <a:gd name="connsiteX11" fmla="*/ 6619934 w 9177188"/>
                <a:gd name="connsiteY11" fmla="*/ 2897689 h 9947044"/>
                <a:gd name="connsiteX12" fmla="*/ 6430430 w 9177188"/>
                <a:gd name="connsiteY12" fmla="*/ 2912099 h 9947044"/>
                <a:gd name="connsiteX13" fmla="*/ 6386026 w 9177188"/>
                <a:gd name="connsiteY13" fmla="*/ 2719705 h 9947044"/>
                <a:gd name="connsiteX14" fmla="*/ 4889544 w 9177188"/>
                <a:gd name="connsiteY14" fmla="*/ 102451 h 9947044"/>
                <a:gd name="connsiteX15" fmla="*/ 4782086 w 9177188"/>
                <a:gd name="connsiteY15" fmla="*/ 0 h 9947044"/>
                <a:gd name="connsiteX0" fmla="*/ 0 w 9177188"/>
                <a:gd name="connsiteY0" fmla="*/ 9812892 h 9946178"/>
                <a:gd name="connsiteX1" fmla="*/ 256304 w 9177188"/>
                <a:gd name="connsiteY1" fmla="*/ 9845460 h 9946178"/>
                <a:gd name="connsiteX2" fmla="*/ 139953 w 9177188"/>
                <a:gd name="connsiteY2" fmla="*/ 9945926 h 9946178"/>
                <a:gd name="connsiteX3" fmla="*/ 0 w 9177188"/>
                <a:gd name="connsiteY3" fmla="*/ 9812892 h 9946178"/>
                <a:gd name="connsiteX4" fmla="*/ 4782086 w 9177188"/>
                <a:gd name="connsiteY4" fmla="*/ 0 h 9946178"/>
                <a:gd name="connsiteX5" fmla="*/ 5178772 w 9177188"/>
                <a:gd name="connsiteY5" fmla="*/ 72751 h 9946178"/>
                <a:gd name="connsiteX6" fmla="*/ 9098084 w 9177188"/>
                <a:gd name="connsiteY6" fmla="*/ 3180682 h 9946178"/>
                <a:gd name="connsiteX7" fmla="*/ 9177188 w 9177188"/>
                <a:gd name="connsiteY7" fmla="*/ 3355652 h 9946178"/>
                <a:gd name="connsiteX8" fmla="*/ 9142812 w 9177188"/>
                <a:gd name="connsiteY8" fmla="*/ 3340111 h 9946178"/>
                <a:gd name="connsiteX9" fmla="*/ 6914524 w 9177188"/>
                <a:gd name="connsiteY9" fmla="*/ 2890240 h 9946178"/>
                <a:gd name="connsiteX10" fmla="*/ 6619934 w 9177188"/>
                <a:gd name="connsiteY10" fmla="*/ 2897689 h 9946178"/>
                <a:gd name="connsiteX11" fmla="*/ 6430430 w 9177188"/>
                <a:gd name="connsiteY11" fmla="*/ 2912099 h 9946178"/>
                <a:gd name="connsiteX12" fmla="*/ 6386026 w 9177188"/>
                <a:gd name="connsiteY12" fmla="*/ 2719705 h 9946178"/>
                <a:gd name="connsiteX13" fmla="*/ 4889544 w 9177188"/>
                <a:gd name="connsiteY13" fmla="*/ 102451 h 9946178"/>
                <a:gd name="connsiteX14" fmla="*/ 4782086 w 9177188"/>
                <a:gd name="connsiteY14" fmla="*/ 0 h 9946178"/>
                <a:gd name="connsiteX0" fmla="*/ 0 w 9177188"/>
                <a:gd name="connsiteY0" fmla="*/ 9812892 h 9845460"/>
                <a:gd name="connsiteX1" fmla="*/ 256304 w 9177188"/>
                <a:gd name="connsiteY1" fmla="*/ 9845460 h 9845460"/>
                <a:gd name="connsiteX2" fmla="*/ 0 w 9177188"/>
                <a:gd name="connsiteY2" fmla="*/ 9812892 h 9845460"/>
                <a:gd name="connsiteX3" fmla="*/ 4782086 w 9177188"/>
                <a:gd name="connsiteY3" fmla="*/ 0 h 9845460"/>
                <a:gd name="connsiteX4" fmla="*/ 5178772 w 9177188"/>
                <a:gd name="connsiteY4" fmla="*/ 72751 h 9845460"/>
                <a:gd name="connsiteX5" fmla="*/ 9098084 w 9177188"/>
                <a:gd name="connsiteY5" fmla="*/ 3180682 h 9845460"/>
                <a:gd name="connsiteX6" fmla="*/ 9177188 w 9177188"/>
                <a:gd name="connsiteY6" fmla="*/ 3355652 h 9845460"/>
                <a:gd name="connsiteX7" fmla="*/ 9142812 w 9177188"/>
                <a:gd name="connsiteY7" fmla="*/ 3340111 h 9845460"/>
                <a:gd name="connsiteX8" fmla="*/ 6914524 w 9177188"/>
                <a:gd name="connsiteY8" fmla="*/ 2890240 h 9845460"/>
                <a:gd name="connsiteX9" fmla="*/ 6619934 w 9177188"/>
                <a:gd name="connsiteY9" fmla="*/ 2897689 h 9845460"/>
                <a:gd name="connsiteX10" fmla="*/ 6430430 w 9177188"/>
                <a:gd name="connsiteY10" fmla="*/ 2912099 h 9845460"/>
                <a:gd name="connsiteX11" fmla="*/ 6386026 w 9177188"/>
                <a:gd name="connsiteY11" fmla="*/ 2719705 h 9845460"/>
                <a:gd name="connsiteX12" fmla="*/ 4889544 w 9177188"/>
                <a:gd name="connsiteY12" fmla="*/ 102451 h 9845460"/>
                <a:gd name="connsiteX13" fmla="*/ 4782086 w 9177188"/>
                <a:gd name="connsiteY13" fmla="*/ 0 h 9845460"/>
                <a:gd name="connsiteX0" fmla="*/ 0 w 4395102"/>
                <a:gd name="connsiteY0" fmla="*/ 0 h 3355652"/>
                <a:gd name="connsiteX1" fmla="*/ 396686 w 4395102"/>
                <a:gd name="connsiteY1" fmla="*/ 72751 h 3355652"/>
                <a:gd name="connsiteX2" fmla="*/ 4315998 w 4395102"/>
                <a:gd name="connsiteY2" fmla="*/ 3180682 h 3355652"/>
                <a:gd name="connsiteX3" fmla="*/ 4395102 w 4395102"/>
                <a:gd name="connsiteY3" fmla="*/ 3355652 h 3355652"/>
                <a:gd name="connsiteX4" fmla="*/ 4360726 w 4395102"/>
                <a:gd name="connsiteY4" fmla="*/ 3340111 h 3355652"/>
                <a:gd name="connsiteX5" fmla="*/ 2132438 w 4395102"/>
                <a:gd name="connsiteY5" fmla="*/ 2890240 h 3355652"/>
                <a:gd name="connsiteX6" fmla="*/ 1837848 w 4395102"/>
                <a:gd name="connsiteY6" fmla="*/ 2897689 h 3355652"/>
                <a:gd name="connsiteX7" fmla="*/ 1648344 w 4395102"/>
                <a:gd name="connsiteY7" fmla="*/ 2912099 h 3355652"/>
                <a:gd name="connsiteX8" fmla="*/ 1603940 w 4395102"/>
                <a:gd name="connsiteY8" fmla="*/ 2719705 h 3355652"/>
                <a:gd name="connsiteX9" fmla="*/ 107458 w 4395102"/>
                <a:gd name="connsiteY9" fmla="*/ 102451 h 3355652"/>
                <a:gd name="connsiteX10" fmla="*/ 0 w 4395102"/>
                <a:gd name="connsiteY10" fmla="*/ 0 h 33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95102" h="3355652">
                  <a:moveTo>
                    <a:pt x="0" y="0"/>
                  </a:moveTo>
                  <a:lnTo>
                    <a:pt x="396686" y="72751"/>
                  </a:lnTo>
                  <a:cubicBezTo>
                    <a:pt x="2127968" y="455339"/>
                    <a:pt x="3564816" y="1621726"/>
                    <a:pt x="4315998" y="3180682"/>
                  </a:cubicBezTo>
                  <a:lnTo>
                    <a:pt x="4395102" y="3355652"/>
                  </a:lnTo>
                  <a:lnTo>
                    <a:pt x="4360726" y="3340111"/>
                  </a:lnTo>
                  <a:cubicBezTo>
                    <a:pt x="3675838" y="3050428"/>
                    <a:pt x="2922846" y="2890240"/>
                    <a:pt x="2132438" y="2890240"/>
                  </a:cubicBezTo>
                  <a:cubicBezTo>
                    <a:pt x="2033638" y="2890240"/>
                    <a:pt x="1935420" y="2892743"/>
                    <a:pt x="1837848" y="2897689"/>
                  </a:cubicBezTo>
                  <a:lnTo>
                    <a:pt x="1648344" y="2912099"/>
                  </a:lnTo>
                  <a:lnTo>
                    <a:pt x="1603940" y="2719705"/>
                  </a:lnTo>
                  <a:cubicBezTo>
                    <a:pt x="1345102" y="1713686"/>
                    <a:pt x="819678" y="814671"/>
                    <a:pt x="107458" y="1024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>
                <a:solidFill>
                  <a:srgbClr val="FFFFFF"/>
                </a:solidFill>
                <a:latin typeface="Roboto"/>
              </a:endParaRPr>
            </a:p>
          </p:txBody>
        </p:sp>
      </p:grpSp>
      <p:grpSp>
        <p:nvGrpSpPr>
          <p:cNvPr id="107" name="Группа 53">
            <a:extLst>
              <a:ext uri="{FF2B5EF4-FFF2-40B4-BE49-F238E27FC236}">
                <a16:creationId xmlns:a16="http://schemas.microsoft.com/office/drawing/2014/main" id="{A45542B1-4EE7-1E47-9EB7-E9A1193991D3}"/>
              </a:ext>
            </a:extLst>
          </p:cNvPr>
          <p:cNvGrpSpPr>
            <a:grpSpLocks noChangeAspect="1"/>
          </p:cNvGrpSpPr>
          <p:nvPr/>
        </p:nvGrpSpPr>
        <p:grpSpPr>
          <a:xfrm>
            <a:off x="4056641" y="3612117"/>
            <a:ext cx="2353056" cy="2353056"/>
            <a:chOff x="4416723" y="4770562"/>
            <a:chExt cx="4434178" cy="4434178"/>
          </a:xfrm>
        </p:grpSpPr>
        <p:grpSp>
          <p:nvGrpSpPr>
            <p:cNvPr id="108" name="Группа 55">
              <a:extLst>
                <a:ext uri="{FF2B5EF4-FFF2-40B4-BE49-F238E27FC236}">
                  <a16:creationId xmlns:a16="http://schemas.microsoft.com/office/drawing/2014/main" id="{F24B8BC8-C598-6643-AC38-C61DE850B1F4}"/>
                </a:ext>
              </a:extLst>
            </p:cNvPr>
            <p:cNvGrpSpPr/>
            <p:nvPr/>
          </p:nvGrpSpPr>
          <p:grpSpPr>
            <a:xfrm>
              <a:off x="4416723" y="4770562"/>
              <a:ext cx="4434178" cy="4434178"/>
              <a:chOff x="9012095" y="4541398"/>
              <a:chExt cx="9073008" cy="9073008"/>
            </a:xfrm>
          </p:grpSpPr>
          <p:sp>
            <p:nvSpPr>
              <p:cNvPr id="110" name="Овал 57">
                <a:extLst>
                  <a:ext uri="{FF2B5EF4-FFF2-40B4-BE49-F238E27FC236}">
                    <a16:creationId xmlns:a16="http://schemas.microsoft.com/office/drawing/2014/main" id="{A010B700-F701-9E4C-BA10-630596187F5E}"/>
                  </a:ext>
                </a:extLst>
              </p:cNvPr>
              <p:cNvSpPr/>
              <p:nvPr/>
            </p:nvSpPr>
            <p:spPr>
              <a:xfrm>
                <a:off x="9012095" y="4541398"/>
                <a:ext cx="9073008" cy="9073008"/>
              </a:xfrm>
              <a:prstGeom prst="ellipse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accent2">
                      <a:lumMod val="42000"/>
                    </a:schemeClr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>
                  <a:solidFill>
                    <a:srgbClr val="FFFFFF"/>
                  </a:solidFill>
                  <a:latin typeface="Roboto"/>
                </a:endParaRPr>
              </a:p>
            </p:txBody>
          </p:sp>
          <p:sp>
            <p:nvSpPr>
              <p:cNvPr id="111" name="Овал 58">
                <a:extLst>
                  <a:ext uri="{FF2B5EF4-FFF2-40B4-BE49-F238E27FC236}">
                    <a16:creationId xmlns:a16="http://schemas.microsoft.com/office/drawing/2014/main" id="{33E403C1-081F-BF4C-A808-A4FF2F35B942}"/>
                  </a:ext>
                </a:extLst>
              </p:cNvPr>
              <p:cNvSpPr/>
              <p:nvPr/>
            </p:nvSpPr>
            <p:spPr>
              <a:xfrm>
                <a:off x="9012095" y="4984111"/>
                <a:ext cx="8614680" cy="8614680"/>
              </a:xfrm>
              <a:prstGeom prst="ellipse">
                <a:avLst/>
              </a:prstGeom>
              <a:gradFill>
                <a:gsLst>
                  <a:gs pos="100000">
                    <a:schemeClr val="bg1"/>
                  </a:gs>
                  <a:gs pos="63000">
                    <a:schemeClr val="bg1">
                      <a:alpha val="0"/>
                    </a:schemeClr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 dirty="0">
                  <a:solidFill>
                    <a:srgbClr val="FFFFFF"/>
                  </a:solidFill>
                  <a:latin typeface="Roboto"/>
                </a:endParaRPr>
              </a:p>
            </p:txBody>
          </p:sp>
        </p:grpSp>
        <p:sp>
          <p:nvSpPr>
            <p:cNvPr id="109" name="Полилиния 56">
              <a:extLst>
                <a:ext uri="{FF2B5EF4-FFF2-40B4-BE49-F238E27FC236}">
                  <a16:creationId xmlns:a16="http://schemas.microsoft.com/office/drawing/2014/main" id="{369B74E2-66ED-DD4C-BB71-E5F257165715}"/>
                </a:ext>
              </a:extLst>
            </p:cNvPr>
            <p:cNvSpPr/>
            <p:nvPr/>
          </p:nvSpPr>
          <p:spPr>
            <a:xfrm>
              <a:off x="6937003" y="4914578"/>
              <a:ext cx="1514105" cy="1156016"/>
            </a:xfrm>
            <a:custGeom>
              <a:avLst/>
              <a:gdLst>
                <a:gd name="connsiteX0" fmla="*/ 0 w 9177188"/>
                <a:gd name="connsiteY0" fmla="*/ 9812892 h 10921772"/>
                <a:gd name="connsiteX1" fmla="*/ 256304 w 9177188"/>
                <a:gd name="connsiteY1" fmla="*/ 9845460 h 10921772"/>
                <a:gd name="connsiteX2" fmla="*/ 841615 w 9177188"/>
                <a:gd name="connsiteY2" fmla="*/ 9875016 h 10921772"/>
                <a:gd name="connsiteX3" fmla="*/ 1136204 w 9177188"/>
                <a:gd name="connsiteY3" fmla="*/ 9867567 h 10921772"/>
                <a:gd name="connsiteX4" fmla="*/ 1325711 w 9177188"/>
                <a:gd name="connsiteY4" fmla="*/ 9853157 h 10921772"/>
                <a:gd name="connsiteX5" fmla="*/ 1370115 w 9177188"/>
                <a:gd name="connsiteY5" fmla="*/ 10045552 h 10921772"/>
                <a:gd name="connsiteX6" fmla="*/ 1639759 w 9177188"/>
                <a:gd name="connsiteY6" fmla="*/ 10843163 h 10921772"/>
                <a:gd name="connsiteX7" fmla="*/ 1675297 w 9177188"/>
                <a:gd name="connsiteY7" fmla="*/ 10921772 h 10921772"/>
                <a:gd name="connsiteX8" fmla="*/ 1456094 w 9177188"/>
                <a:gd name="connsiteY8" fmla="*/ 10822673 h 10921772"/>
                <a:gd name="connsiteX9" fmla="*/ 139953 w 9177188"/>
                <a:gd name="connsiteY9" fmla="*/ 9945926 h 10921772"/>
                <a:gd name="connsiteX10" fmla="*/ 4782086 w 9177188"/>
                <a:gd name="connsiteY10" fmla="*/ 0 h 10921772"/>
                <a:gd name="connsiteX11" fmla="*/ 5178772 w 9177188"/>
                <a:gd name="connsiteY11" fmla="*/ 72751 h 10921772"/>
                <a:gd name="connsiteX12" fmla="*/ 9098084 w 9177188"/>
                <a:gd name="connsiteY12" fmla="*/ 3180682 h 10921772"/>
                <a:gd name="connsiteX13" fmla="*/ 9177188 w 9177188"/>
                <a:gd name="connsiteY13" fmla="*/ 3355652 h 10921772"/>
                <a:gd name="connsiteX14" fmla="*/ 9142812 w 9177188"/>
                <a:gd name="connsiteY14" fmla="*/ 3340111 h 10921772"/>
                <a:gd name="connsiteX15" fmla="*/ 6914524 w 9177188"/>
                <a:gd name="connsiteY15" fmla="*/ 2890240 h 10921772"/>
                <a:gd name="connsiteX16" fmla="*/ 6619934 w 9177188"/>
                <a:gd name="connsiteY16" fmla="*/ 2897689 h 10921772"/>
                <a:gd name="connsiteX17" fmla="*/ 6430430 w 9177188"/>
                <a:gd name="connsiteY17" fmla="*/ 2912099 h 10921772"/>
                <a:gd name="connsiteX18" fmla="*/ 6386026 w 9177188"/>
                <a:gd name="connsiteY18" fmla="*/ 2719705 h 10921772"/>
                <a:gd name="connsiteX19" fmla="*/ 4889544 w 9177188"/>
                <a:gd name="connsiteY19" fmla="*/ 102451 h 10921772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456094 w 9177188"/>
                <a:gd name="connsiteY7" fmla="*/ 10822673 h 10843163"/>
                <a:gd name="connsiteX8" fmla="*/ 139953 w 9177188"/>
                <a:gd name="connsiteY8" fmla="*/ 9945926 h 10843163"/>
                <a:gd name="connsiteX9" fmla="*/ 0 w 9177188"/>
                <a:gd name="connsiteY9" fmla="*/ 9812892 h 10843163"/>
                <a:gd name="connsiteX10" fmla="*/ 4782086 w 9177188"/>
                <a:gd name="connsiteY10" fmla="*/ 0 h 10843163"/>
                <a:gd name="connsiteX11" fmla="*/ 5178772 w 9177188"/>
                <a:gd name="connsiteY11" fmla="*/ 72751 h 10843163"/>
                <a:gd name="connsiteX12" fmla="*/ 9098084 w 9177188"/>
                <a:gd name="connsiteY12" fmla="*/ 3180682 h 10843163"/>
                <a:gd name="connsiteX13" fmla="*/ 9177188 w 9177188"/>
                <a:gd name="connsiteY13" fmla="*/ 3355652 h 10843163"/>
                <a:gd name="connsiteX14" fmla="*/ 9142812 w 9177188"/>
                <a:gd name="connsiteY14" fmla="*/ 3340111 h 10843163"/>
                <a:gd name="connsiteX15" fmla="*/ 6914524 w 9177188"/>
                <a:gd name="connsiteY15" fmla="*/ 2890240 h 10843163"/>
                <a:gd name="connsiteX16" fmla="*/ 6619934 w 9177188"/>
                <a:gd name="connsiteY16" fmla="*/ 2897689 h 10843163"/>
                <a:gd name="connsiteX17" fmla="*/ 6430430 w 9177188"/>
                <a:gd name="connsiteY17" fmla="*/ 2912099 h 10843163"/>
                <a:gd name="connsiteX18" fmla="*/ 6386026 w 9177188"/>
                <a:gd name="connsiteY18" fmla="*/ 2719705 h 10843163"/>
                <a:gd name="connsiteX19" fmla="*/ 4889544 w 9177188"/>
                <a:gd name="connsiteY19" fmla="*/ 102451 h 10843163"/>
                <a:gd name="connsiteX20" fmla="*/ 4782086 w 9177188"/>
                <a:gd name="connsiteY20" fmla="*/ 0 h 10843163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39953 w 9177188"/>
                <a:gd name="connsiteY7" fmla="*/ 9945926 h 10843163"/>
                <a:gd name="connsiteX8" fmla="*/ 0 w 9177188"/>
                <a:gd name="connsiteY8" fmla="*/ 9812892 h 10843163"/>
                <a:gd name="connsiteX9" fmla="*/ 4782086 w 9177188"/>
                <a:gd name="connsiteY9" fmla="*/ 0 h 10843163"/>
                <a:gd name="connsiteX10" fmla="*/ 5178772 w 9177188"/>
                <a:gd name="connsiteY10" fmla="*/ 72751 h 10843163"/>
                <a:gd name="connsiteX11" fmla="*/ 9098084 w 9177188"/>
                <a:gd name="connsiteY11" fmla="*/ 3180682 h 10843163"/>
                <a:gd name="connsiteX12" fmla="*/ 9177188 w 9177188"/>
                <a:gd name="connsiteY12" fmla="*/ 3355652 h 10843163"/>
                <a:gd name="connsiteX13" fmla="*/ 9142812 w 9177188"/>
                <a:gd name="connsiteY13" fmla="*/ 3340111 h 10843163"/>
                <a:gd name="connsiteX14" fmla="*/ 6914524 w 9177188"/>
                <a:gd name="connsiteY14" fmla="*/ 2890240 h 10843163"/>
                <a:gd name="connsiteX15" fmla="*/ 6619934 w 9177188"/>
                <a:gd name="connsiteY15" fmla="*/ 2897689 h 10843163"/>
                <a:gd name="connsiteX16" fmla="*/ 6430430 w 9177188"/>
                <a:gd name="connsiteY16" fmla="*/ 2912099 h 10843163"/>
                <a:gd name="connsiteX17" fmla="*/ 6386026 w 9177188"/>
                <a:gd name="connsiteY17" fmla="*/ 2719705 h 10843163"/>
                <a:gd name="connsiteX18" fmla="*/ 4889544 w 9177188"/>
                <a:gd name="connsiteY18" fmla="*/ 102451 h 10843163"/>
                <a:gd name="connsiteX19" fmla="*/ 4782086 w 9177188"/>
                <a:gd name="connsiteY19" fmla="*/ 0 h 10843163"/>
                <a:gd name="connsiteX0" fmla="*/ 0 w 9177188"/>
                <a:gd name="connsiteY0" fmla="*/ 9812892 h 10047590"/>
                <a:gd name="connsiteX1" fmla="*/ 256304 w 9177188"/>
                <a:gd name="connsiteY1" fmla="*/ 9845460 h 10047590"/>
                <a:gd name="connsiteX2" fmla="*/ 841615 w 9177188"/>
                <a:gd name="connsiteY2" fmla="*/ 9875016 h 10047590"/>
                <a:gd name="connsiteX3" fmla="*/ 1136204 w 9177188"/>
                <a:gd name="connsiteY3" fmla="*/ 9867567 h 10047590"/>
                <a:gd name="connsiteX4" fmla="*/ 1325711 w 9177188"/>
                <a:gd name="connsiteY4" fmla="*/ 9853157 h 10047590"/>
                <a:gd name="connsiteX5" fmla="*/ 1370115 w 9177188"/>
                <a:gd name="connsiteY5" fmla="*/ 10045552 h 10047590"/>
                <a:gd name="connsiteX6" fmla="*/ 139953 w 9177188"/>
                <a:gd name="connsiteY6" fmla="*/ 9945926 h 10047590"/>
                <a:gd name="connsiteX7" fmla="*/ 0 w 9177188"/>
                <a:gd name="connsiteY7" fmla="*/ 9812892 h 10047590"/>
                <a:gd name="connsiteX8" fmla="*/ 4782086 w 9177188"/>
                <a:gd name="connsiteY8" fmla="*/ 0 h 10047590"/>
                <a:gd name="connsiteX9" fmla="*/ 5178772 w 9177188"/>
                <a:gd name="connsiteY9" fmla="*/ 72751 h 10047590"/>
                <a:gd name="connsiteX10" fmla="*/ 9098084 w 9177188"/>
                <a:gd name="connsiteY10" fmla="*/ 3180682 h 10047590"/>
                <a:gd name="connsiteX11" fmla="*/ 9177188 w 9177188"/>
                <a:gd name="connsiteY11" fmla="*/ 3355652 h 10047590"/>
                <a:gd name="connsiteX12" fmla="*/ 9142812 w 9177188"/>
                <a:gd name="connsiteY12" fmla="*/ 3340111 h 10047590"/>
                <a:gd name="connsiteX13" fmla="*/ 6914524 w 9177188"/>
                <a:gd name="connsiteY13" fmla="*/ 2890240 h 10047590"/>
                <a:gd name="connsiteX14" fmla="*/ 6619934 w 9177188"/>
                <a:gd name="connsiteY14" fmla="*/ 2897689 h 10047590"/>
                <a:gd name="connsiteX15" fmla="*/ 6430430 w 9177188"/>
                <a:gd name="connsiteY15" fmla="*/ 2912099 h 10047590"/>
                <a:gd name="connsiteX16" fmla="*/ 6386026 w 9177188"/>
                <a:gd name="connsiteY16" fmla="*/ 2719705 h 10047590"/>
                <a:gd name="connsiteX17" fmla="*/ 4889544 w 9177188"/>
                <a:gd name="connsiteY17" fmla="*/ 102451 h 10047590"/>
                <a:gd name="connsiteX18" fmla="*/ 4782086 w 9177188"/>
                <a:gd name="connsiteY18" fmla="*/ 0 h 10047590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25711 w 9177188"/>
                <a:gd name="connsiteY4" fmla="*/ 9853157 h 9945926"/>
                <a:gd name="connsiteX5" fmla="*/ 139953 w 9177188"/>
                <a:gd name="connsiteY5" fmla="*/ 9945926 h 9945926"/>
                <a:gd name="connsiteX6" fmla="*/ 0 w 9177188"/>
                <a:gd name="connsiteY6" fmla="*/ 9812892 h 9945926"/>
                <a:gd name="connsiteX7" fmla="*/ 4782086 w 9177188"/>
                <a:gd name="connsiteY7" fmla="*/ 0 h 9945926"/>
                <a:gd name="connsiteX8" fmla="*/ 5178772 w 9177188"/>
                <a:gd name="connsiteY8" fmla="*/ 72751 h 9945926"/>
                <a:gd name="connsiteX9" fmla="*/ 9098084 w 9177188"/>
                <a:gd name="connsiteY9" fmla="*/ 3180682 h 9945926"/>
                <a:gd name="connsiteX10" fmla="*/ 9177188 w 9177188"/>
                <a:gd name="connsiteY10" fmla="*/ 3355652 h 9945926"/>
                <a:gd name="connsiteX11" fmla="*/ 9142812 w 9177188"/>
                <a:gd name="connsiteY11" fmla="*/ 3340111 h 9945926"/>
                <a:gd name="connsiteX12" fmla="*/ 6914524 w 9177188"/>
                <a:gd name="connsiteY12" fmla="*/ 2890240 h 9945926"/>
                <a:gd name="connsiteX13" fmla="*/ 6619934 w 9177188"/>
                <a:gd name="connsiteY13" fmla="*/ 2897689 h 9945926"/>
                <a:gd name="connsiteX14" fmla="*/ 6430430 w 9177188"/>
                <a:gd name="connsiteY14" fmla="*/ 2912099 h 9945926"/>
                <a:gd name="connsiteX15" fmla="*/ 6386026 w 9177188"/>
                <a:gd name="connsiteY15" fmla="*/ 2719705 h 9945926"/>
                <a:gd name="connsiteX16" fmla="*/ 4889544 w 9177188"/>
                <a:gd name="connsiteY16" fmla="*/ 102451 h 9945926"/>
                <a:gd name="connsiteX17" fmla="*/ 4782086 w 9177188"/>
                <a:gd name="connsiteY17" fmla="*/ 0 h 9945926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9953 w 9177188"/>
                <a:gd name="connsiteY4" fmla="*/ 9945926 h 9945926"/>
                <a:gd name="connsiteX5" fmla="*/ 0 w 9177188"/>
                <a:gd name="connsiteY5" fmla="*/ 9812892 h 9945926"/>
                <a:gd name="connsiteX6" fmla="*/ 4782086 w 9177188"/>
                <a:gd name="connsiteY6" fmla="*/ 0 h 9945926"/>
                <a:gd name="connsiteX7" fmla="*/ 5178772 w 9177188"/>
                <a:gd name="connsiteY7" fmla="*/ 72751 h 9945926"/>
                <a:gd name="connsiteX8" fmla="*/ 9098084 w 9177188"/>
                <a:gd name="connsiteY8" fmla="*/ 3180682 h 9945926"/>
                <a:gd name="connsiteX9" fmla="*/ 9177188 w 9177188"/>
                <a:gd name="connsiteY9" fmla="*/ 3355652 h 9945926"/>
                <a:gd name="connsiteX10" fmla="*/ 9142812 w 9177188"/>
                <a:gd name="connsiteY10" fmla="*/ 3340111 h 9945926"/>
                <a:gd name="connsiteX11" fmla="*/ 6914524 w 9177188"/>
                <a:gd name="connsiteY11" fmla="*/ 2890240 h 9945926"/>
                <a:gd name="connsiteX12" fmla="*/ 6619934 w 9177188"/>
                <a:gd name="connsiteY12" fmla="*/ 2897689 h 9945926"/>
                <a:gd name="connsiteX13" fmla="*/ 6430430 w 9177188"/>
                <a:gd name="connsiteY13" fmla="*/ 2912099 h 9945926"/>
                <a:gd name="connsiteX14" fmla="*/ 6386026 w 9177188"/>
                <a:gd name="connsiteY14" fmla="*/ 2719705 h 9945926"/>
                <a:gd name="connsiteX15" fmla="*/ 4889544 w 9177188"/>
                <a:gd name="connsiteY15" fmla="*/ 102451 h 9945926"/>
                <a:gd name="connsiteX16" fmla="*/ 4782086 w 9177188"/>
                <a:gd name="connsiteY16" fmla="*/ 0 h 9945926"/>
                <a:gd name="connsiteX0" fmla="*/ 0 w 9177188"/>
                <a:gd name="connsiteY0" fmla="*/ 9812892 h 9947044"/>
                <a:gd name="connsiteX1" fmla="*/ 256304 w 9177188"/>
                <a:gd name="connsiteY1" fmla="*/ 9845460 h 9947044"/>
                <a:gd name="connsiteX2" fmla="*/ 841615 w 9177188"/>
                <a:gd name="connsiteY2" fmla="*/ 9875016 h 9947044"/>
                <a:gd name="connsiteX3" fmla="*/ 139953 w 9177188"/>
                <a:gd name="connsiteY3" fmla="*/ 9945926 h 9947044"/>
                <a:gd name="connsiteX4" fmla="*/ 0 w 9177188"/>
                <a:gd name="connsiteY4" fmla="*/ 9812892 h 9947044"/>
                <a:gd name="connsiteX5" fmla="*/ 4782086 w 9177188"/>
                <a:gd name="connsiteY5" fmla="*/ 0 h 9947044"/>
                <a:gd name="connsiteX6" fmla="*/ 5178772 w 9177188"/>
                <a:gd name="connsiteY6" fmla="*/ 72751 h 9947044"/>
                <a:gd name="connsiteX7" fmla="*/ 9098084 w 9177188"/>
                <a:gd name="connsiteY7" fmla="*/ 3180682 h 9947044"/>
                <a:gd name="connsiteX8" fmla="*/ 9177188 w 9177188"/>
                <a:gd name="connsiteY8" fmla="*/ 3355652 h 9947044"/>
                <a:gd name="connsiteX9" fmla="*/ 9142812 w 9177188"/>
                <a:gd name="connsiteY9" fmla="*/ 3340111 h 9947044"/>
                <a:gd name="connsiteX10" fmla="*/ 6914524 w 9177188"/>
                <a:gd name="connsiteY10" fmla="*/ 2890240 h 9947044"/>
                <a:gd name="connsiteX11" fmla="*/ 6619934 w 9177188"/>
                <a:gd name="connsiteY11" fmla="*/ 2897689 h 9947044"/>
                <a:gd name="connsiteX12" fmla="*/ 6430430 w 9177188"/>
                <a:gd name="connsiteY12" fmla="*/ 2912099 h 9947044"/>
                <a:gd name="connsiteX13" fmla="*/ 6386026 w 9177188"/>
                <a:gd name="connsiteY13" fmla="*/ 2719705 h 9947044"/>
                <a:gd name="connsiteX14" fmla="*/ 4889544 w 9177188"/>
                <a:gd name="connsiteY14" fmla="*/ 102451 h 9947044"/>
                <a:gd name="connsiteX15" fmla="*/ 4782086 w 9177188"/>
                <a:gd name="connsiteY15" fmla="*/ 0 h 9947044"/>
                <a:gd name="connsiteX0" fmla="*/ 0 w 9177188"/>
                <a:gd name="connsiteY0" fmla="*/ 9812892 h 9946178"/>
                <a:gd name="connsiteX1" fmla="*/ 256304 w 9177188"/>
                <a:gd name="connsiteY1" fmla="*/ 9845460 h 9946178"/>
                <a:gd name="connsiteX2" fmla="*/ 139953 w 9177188"/>
                <a:gd name="connsiteY2" fmla="*/ 9945926 h 9946178"/>
                <a:gd name="connsiteX3" fmla="*/ 0 w 9177188"/>
                <a:gd name="connsiteY3" fmla="*/ 9812892 h 9946178"/>
                <a:gd name="connsiteX4" fmla="*/ 4782086 w 9177188"/>
                <a:gd name="connsiteY4" fmla="*/ 0 h 9946178"/>
                <a:gd name="connsiteX5" fmla="*/ 5178772 w 9177188"/>
                <a:gd name="connsiteY5" fmla="*/ 72751 h 9946178"/>
                <a:gd name="connsiteX6" fmla="*/ 9098084 w 9177188"/>
                <a:gd name="connsiteY6" fmla="*/ 3180682 h 9946178"/>
                <a:gd name="connsiteX7" fmla="*/ 9177188 w 9177188"/>
                <a:gd name="connsiteY7" fmla="*/ 3355652 h 9946178"/>
                <a:gd name="connsiteX8" fmla="*/ 9142812 w 9177188"/>
                <a:gd name="connsiteY8" fmla="*/ 3340111 h 9946178"/>
                <a:gd name="connsiteX9" fmla="*/ 6914524 w 9177188"/>
                <a:gd name="connsiteY9" fmla="*/ 2890240 h 9946178"/>
                <a:gd name="connsiteX10" fmla="*/ 6619934 w 9177188"/>
                <a:gd name="connsiteY10" fmla="*/ 2897689 h 9946178"/>
                <a:gd name="connsiteX11" fmla="*/ 6430430 w 9177188"/>
                <a:gd name="connsiteY11" fmla="*/ 2912099 h 9946178"/>
                <a:gd name="connsiteX12" fmla="*/ 6386026 w 9177188"/>
                <a:gd name="connsiteY12" fmla="*/ 2719705 h 9946178"/>
                <a:gd name="connsiteX13" fmla="*/ 4889544 w 9177188"/>
                <a:gd name="connsiteY13" fmla="*/ 102451 h 9946178"/>
                <a:gd name="connsiteX14" fmla="*/ 4782086 w 9177188"/>
                <a:gd name="connsiteY14" fmla="*/ 0 h 9946178"/>
                <a:gd name="connsiteX0" fmla="*/ 0 w 9177188"/>
                <a:gd name="connsiteY0" fmla="*/ 9812892 h 9845460"/>
                <a:gd name="connsiteX1" fmla="*/ 256304 w 9177188"/>
                <a:gd name="connsiteY1" fmla="*/ 9845460 h 9845460"/>
                <a:gd name="connsiteX2" fmla="*/ 0 w 9177188"/>
                <a:gd name="connsiteY2" fmla="*/ 9812892 h 9845460"/>
                <a:gd name="connsiteX3" fmla="*/ 4782086 w 9177188"/>
                <a:gd name="connsiteY3" fmla="*/ 0 h 9845460"/>
                <a:gd name="connsiteX4" fmla="*/ 5178772 w 9177188"/>
                <a:gd name="connsiteY4" fmla="*/ 72751 h 9845460"/>
                <a:gd name="connsiteX5" fmla="*/ 9098084 w 9177188"/>
                <a:gd name="connsiteY5" fmla="*/ 3180682 h 9845460"/>
                <a:gd name="connsiteX6" fmla="*/ 9177188 w 9177188"/>
                <a:gd name="connsiteY6" fmla="*/ 3355652 h 9845460"/>
                <a:gd name="connsiteX7" fmla="*/ 9142812 w 9177188"/>
                <a:gd name="connsiteY7" fmla="*/ 3340111 h 9845460"/>
                <a:gd name="connsiteX8" fmla="*/ 6914524 w 9177188"/>
                <a:gd name="connsiteY8" fmla="*/ 2890240 h 9845460"/>
                <a:gd name="connsiteX9" fmla="*/ 6619934 w 9177188"/>
                <a:gd name="connsiteY9" fmla="*/ 2897689 h 9845460"/>
                <a:gd name="connsiteX10" fmla="*/ 6430430 w 9177188"/>
                <a:gd name="connsiteY10" fmla="*/ 2912099 h 9845460"/>
                <a:gd name="connsiteX11" fmla="*/ 6386026 w 9177188"/>
                <a:gd name="connsiteY11" fmla="*/ 2719705 h 9845460"/>
                <a:gd name="connsiteX12" fmla="*/ 4889544 w 9177188"/>
                <a:gd name="connsiteY12" fmla="*/ 102451 h 9845460"/>
                <a:gd name="connsiteX13" fmla="*/ 4782086 w 9177188"/>
                <a:gd name="connsiteY13" fmla="*/ 0 h 9845460"/>
                <a:gd name="connsiteX0" fmla="*/ 0 w 4395102"/>
                <a:gd name="connsiteY0" fmla="*/ 0 h 3355652"/>
                <a:gd name="connsiteX1" fmla="*/ 396686 w 4395102"/>
                <a:gd name="connsiteY1" fmla="*/ 72751 h 3355652"/>
                <a:gd name="connsiteX2" fmla="*/ 4315998 w 4395102"/>
                <a:gd name="connsiteY2" fmla="*/ 3180682 h 3355652"/>
                <a:gd name="connsiteX3" fmla="*/ 4395102 w 4395102"/>
                <a:gd name="connsiteY3" fmla="*/ 3355652 h 3355652"/>
                <a:gd name="connsiteX4" fmla="*/ 4360726 w 4395102"/>
                <a:gd name="connsiteY4" fmla="*/ 3340111 h 3355652"/>
                <a:gd name="connsiteX5" fmla="*/ 2132438 w 4395102"/>
                <a:gd name="connsiteY5" fmla="*/ 2890240 h 3355652"/>
                <a:gd name="connsiteX6" fmla="*/ 1837848 w 4395102"/>
                <a:gd name="connsiteY6" fmla="*/ 2897689 h 3355652"/>
                <a:gd name="connsiteX7" fmla="*/ 1648344 w 4395102"/>
                <a:gd name="connsiteY7" fmla="*/ 2912099 h 3355652"/>
                <a:gd name="connsiteX8" fmla="*/ 1603940 w 4395102"/>
                <a:gd name="connsiteY8" fmla="*/ 2719705 h 3355652"/>
                <a:gd name="connsiteX9" fmla="*/ 107458 w 4395102"/>
                <a:gd name="connsiteY9" fmla="*/ 102451 h 3355652"/>
                <a:gd name="connsiteX10" fmla="*/ 0 w 4395102"/>
                <a:gd name="connsiteY10" fmla="*/ 0 h 33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95102" h="3355652">
                  <a:moveTo>
                    <a:pt x="0" y="0"/>
                  </a:moveTo>
                  <a:lnTo>
                    <a:pt x="396686" y="72751"/>
                  </a:lnTo>
                  <a:cubicBezTo>
                    <a:pt x="2127968" y="455339"/>
                    <a:pt x="3564816" y="1621726"/>
                    <a:pt x="4315998" y="3180682"/>
                  </a:cubicBezTo>
                  <a:lnTo>
                    <a:pt x="4395102" y="3355652"/>
                  </a:lnTo>
                  <a:lnTo>
                    <a:pt x="4360726" y="3340111"/>
                  </a:lnTo>
                  <a:cubicBezTo>
                    <a:pt x="3675838" y="3050428"/>
                    <a:pt x="2922846" y="2890240"/>
                    <a:pt x="2132438" y="2890240"/>
                  </a:cubicBezTo>
                  <a:cubicBezTo>
                    <a:pt x="2033638" y="2890240"/>
                    <a:pt x="1935420" y="2892743"/>
                    <a:pt x="1837848" y="2897689"/>
                  </a:cubicBezTo>
                  <a:lnTo>
                    <a:pt x="1648344" y="2912099"/>
                  </a:lnTo>
                  <a:lnTo>
                    <a:pt x="1603940" y="2719705"/>
                  </a:lnTo>
                  <a:cubicBezTo>
                    <a:pt x="1345102" y="1713686"/>
                    <a:pt x="819678" y="814671"/>
                    <a:pt x="107458" y="1024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>
                <a:solidFill>
                  <a:srgbClr val="FFFFFF"/>
                </a:solidFill>
                <a:latin typeface="Roboto"/>
              </a:endParaRPr>
            </a:p>
          </p:txBody>
        </p: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0CAEABCB-63E7-9442-A540-12E15E42CE1E}"/>
              </a:ext>
            </a:extLst>
          </p:cNvPr>
          <p:cNvSpPr txBox="1"/>
          <p:nvPr/>
        </p:nvSpPr>
        <p:spPr>
          <a:xfrm>
            <a:off x="2049451" y="443662"/>
            <a:ext cx="8122024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600">
              <a:lnSpc>
                <a:spcPts val="3200"/>
              </a:lnSpc>
            </a:pPr>
            <a:r>
              <a:rPr 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Go-to-Market Strategy</a:t>
            </a:r>
          </a:p>
        </p:txBody>
      </p:sp>
      <p:grpSp>
        <p:nvGrpSpPr>
          <p:cNvPr id="117" name="Группа 53">
            <a:extLst>
              <a:ext uri="{FF2B5EF4-FFF2-40B4-BE49-F238E27FC236}">
                <a16:creationId xmlns:a16="http://schemas.microsoft.com/office/drawing/2014/main" id="{C97942B0-3097-B942-9792-DCD6A0527439}"/>
              </a:ext>
            </a:extLst>
          </p:cNvPr>
          <p:cNvGrpSpPr>
            <a:grpSpLocks noChangeAspect="1"/>
          </p:cNvGrpSpPr>
          <p:nvPr/>
        </p:nvGrpSpPr>
        <p:grpSpPr>
          <a:xfrm>
            <a:off x="5778548" y="1713713"/>
            <a:ext cx="2353056" cy="2353056"/>
            <a:chOff x="4416723" y="4770562"/>
            <a:chExt cx="4434178" cy="4434178"/>
          </a:xfrm>
        </p:grpSpPr>
        <p:grpSp>
          <p:nvGrpSpPr>
            <p:cNvPr id="118" name="Группа 55">
              <a:extLst>
                <a:ext uri="{FF2B5EF4-FFF2-40B4-BE49-F238E27FC236}">
                  <a16:creationId xmlns:a16="http://schemas.microsoft.com/office/drawing/2014/main" id="{3CA7204A-2784-D949-808C-07DF075ADE73}"/>
                </a:ext>
              </a:extLst>
            </p:cNvPr>
            <p:cNvGrpSpPr/>
            <p:nvPr/>
          </p:nvGrpSpPr>
          <p:grpSpPr>
            <a:xfrm>
              <a:off x="4416723" y="4770562"/>
              <a:ext cx="4434178" cy="4434178"/>
              <a:chOff x="9012095" y="4541398"/>
              <a:chExt cx="9073008" cy="9073008"/>
            </a:xfrm>
          </p:grpSpPr>
          <p:sp>
            <p:nvSpPr>
              <p:cNvPr id="120" name="Овал 57">
                <a:extLst>
                  <a:ext uri="{FF2B5EF4-FFF2-40B4-BE49-F238E27FC236}">
                    <a16:creationId xmlns:a16="http://schemas.microsoft.com/office/drawing/2014/main" id="{DCCE7CD4-A3EB-8842-B30E-788B743ABB71}"/>
                  </a:ext>
                </a:extLst>
              </p:cNvPr>
              <p:cNvSpPr/>
              <p:nvPr/>
            </p:nvSpPr>
            <p:spPr>
              <a:xfrm>
                <a:off x="9012095" y="4541398"/>
                <a:ext cx="9073008" cy="9073008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>
                  <a:solidFill>
                    <a:srgbClr val="FFFFFF"/>
                  </a:solidFill>
                  <a:latin typeface="Roboto"/>
                </a:endParaRPr>
              </a:p>
            </p:txBody>
          </p:sp>
          <p:sp>
            <p:nvSpPr>
              <p:cNvPr id="121" name="Овал 58">
                <a:extLst>
                  <a:ext uri="{FF2B5EF4-FFF2-40B4-BE49-F238E27FC236}">
                    <a16:creationId xmlns:a16="http://schemas.microsoft.com/office/drawing/2014/main" id="{203B8273-23B5-184E-B11B-0B91281C0092}"/>
                  </a:ext>
                </a:extLst>
              </p:cNvPr>
              <p:cNvSpPr/>
              <p:nvPr/>
            </p:nvSpPr>
            <p:spPr>
              <a:xfrm>
                <a:off x="9285901" y="4731876"/>
                <a:ext cx="8614678" cy="8614678"/>
              </a:xfrm>
              <a:prstGeom prst="ellipse">
                <a:avLst/>
              </a:prstGeom>
              <a:gradFill>
                <a:gsLst>
                  <a:gs pos="100000">
                    <a:schemeClr val="bg1"/>
                  </a:gs>
                  <a:gs pos="63000">
                    <a:schemeClr val="bg1">
                      <a:alpha val="0"/>
                    </a:schemeClr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 dirty="0">
                  <a:solidFill>
                    <a:srgbClr val="FFFFFF"/>
                  </a:solidFill>
                  <a:latin typeface="Roboto"/>
                </a:endParaRPr>
              </a:p>
            </p:txBody>
          </p:sp>
        </p:grpSp>
        <p:sp>
          <p:nvSpPr>
            <p:cNvPr id="119" name="Полилиния 56">
              <a:extLst>
                <a:ext uri="{FF2B5EF4-FFF2-40B4-BE49-F238E27FC236}">
                  <a16:creationId xmlns:a16="http://schemas.microsoft.com/office/drawing/2014/main" id="{BB11949D-5C35-CD46-AE28-A50BD649E099}"/>
                </a:ext>
              </a:extLst>
            </p:cNvPr>
            <p:cNvSpPr/>
            <p:nvPr/>
          </p:nvSpPr>
          <p:spPr>
            <a:xfrm>
              <a:off x="6937003" y="4914578"/>
              <a:ext cx="1514105" cy="1156016"/>
            </a:xfrm>
            <a:custGeom>
              <a:avLst/>
              <a:gdLst>
                <a:gd name="connsiteX0" fmla="*/ 0 w 9177188"/>
                <a:gd name="connsiteY0" fmla="*/ 9812892 h 10921772"/>
                <a:gd name="connsiteX1" fmla="*/ 256304 w 9177188"/>
                <a:gd name="connsiteY1" fmla="*/ 9845460 h 10921772"/>
                <a:gd name="connsiteX2" fmla="*/ 841615 w 9177188"/>
                <a:gd name="connsiteY2" fmla="*/ 9875016 h 10921772"/>
                <a:gd name="connsiteX3" fmla="*/ 1136204 w 9177188"/>
                <a:gd name="connsiteY3" fmla="*/ 9867567 h 10921772"/>
                <a:gd name="connsiteX4" fmla="*/ 1325711 w 9177188"/>
                <a:gd name="connsiteY4" fmla="*/ 9853157 h 10921772"/>
                <a:gd name="connsiteX5" fmla="*/ 1370115 w 9177188"/>
                <a:gd name="connsiteY5" fmla="*/ 10045552 h 10921772"/>
                <a:gd name="connsiteX6" fmla="*/ 1639759 w 9177188"/>
                <a:gd name="connsiteY6" fmla="*/ 10843163 h 10921772"/>
                <a:gd name="connsiteX7" fmla="*/ 1675297 w 9177188"/>
                <a:gd name="connsiteY7" fmla="*/ 10921772 h 10921772"/>
                <a:gd name="connsiteX8" fmla="*/ 1456094 w 9177188"/>
                <a:gd name="connsiteY8" fmla="*/ 10822673 h 10921772"/>
                <a:gd name="connsiteX9" fmla="*/ 139953 w 9177188"/>
                <a:gd name="connsiteY9" fmla="*/ 9945926 h 10921772"/>
                <a:gd name="connsiteX10" fmla="*/ 4782086 w 9177188"/>
                <a:gd name="connsiteY10" fmla="*/ 0 h 10921772"/>
                <a:gd name="connsiteX11" fmla="*/ 5178772 w 9177188"/>
                <a:gd name="connsiteY11" fmla="*/ 72751 h 10921772"/>
                <a:gd name="connsiteX12" fmla="*/ 9098084 w 9177188"/>
                <a:gd name="connsiteY12" fmla="*/ 3180682 h 10921772"/>
                <a:gd name="connsiteX13" fmla="*/ 9177188 w 9177188"/>
                <a:gd name="connsiteY13" fmla="*/ 3355652 h 10921772"/>
                <a:gd name="connsiteX14" fmla="*/ 9142812 w 9177188"/>
                <a:gd name="connsiteY14" fmla="*/ 3340111 h 10921772"/>
                <a:gd name="connsiteX15" fmla="*/ 6914524 w 9177188"/>
                <a:gd name="connsiteY15" fmla="*/ 2890240 h 10921772"/>
                <a:gd name="connsiteX16" fmla="*/ 6619934 w 9177188"/>
                <a:gd name="connsiteY16" fmla="*/ 2897689 h 10921772"/>
                <a:gd name="connsiteX17" fmla="*/ 6430430 w 9177188"/>
                <a:gd name="connsiteY17" fmla="*/ 2912099 h 10921772"/>
                <a:gd name="connsiteX18" fmla="*/ 6386026 w 9177188"/>
                <a:gd name="connsiteY18" fmla="*/ 2719705 h 10921772"/>
                <a:gd name="connsiteX19" fmla="*/ 4889544 w 9177188"/>
                <a:gd name="connsiteY19" fmla="*/ 102451 h 10921772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456094 w 9177188"/>
                <a:gd name="connsiteY7" fmla="*/ 10822673 h 10843163"/>
                <a:gd name="connsiteX8" fmla="*/ 139953 w 9177188"/>
                <a:gd name="connsiteY8" fmla="*/ 9945926 h 10843163"/>
                <a:gd name="connsiteX9" fmla="*/ 0 w 9177188"/>
                <a:gd name="connsiteY9" fmla="*/ 9812892 h 10843163"/>
                <a:gd name="connsiteX10" fmla="*/ 4782086 w 9177188"/>
                <a:gd name="connsiteY10" fmla="*/ 0 h 10843163"/>
                <a:gd name="connsiteX11" fmla="*/ 5178772 w 9177188"/>
                <a:gd name="connsiteY11" fmla="*/ 72751 h 10843163"/>
                <a:gd name="connsiteX12" fmla="*/ 9098084 w 9177188"/>
                <a:gd name="connsiteY12" fmla="*/ 3180682 h 10843163"/>
                <a:gd name="connsiteX13" fmla="*/ 9177188 w 9177188"/>
                <a:gd name="connsiteY13" fmla="*/ 3355652 h 10843163"/>
                <a:gd name="connsiteX14" fmla="*/ 9142812 w 9177188"/>
                <a:gd name="connsiteY14" fmla="*/ 3340111 h 10843163"/>
                <a:gd name="connsiteX15" fmla="*/ 6914524 w 9177188"/>
                <a:gd name="connsiteY15" fmla="*/ 2890240 h 10843163"/>
                <a:gd name="connsiteX16" fmla="*/ 6619934 w 9177188"/>
                <a:gd name="connsiteY16" fmla="*/ 2897689 h 10843163"/>
                <a:gd name="connsiteX17" fmla="*/ 6430430 w 9177188"/>
                <a:gd name="connsiteY17" fmla="*/ 2912099 h 10843163"/>
                <a:gd name="connsiteX18" fmla="*/ 6386026 w 9177188"/>
                <a:gd name="connsiteY18" fmla="*/ 2719705 h 10843163"/>
                <a:gd name="connsiteX19" fmla="*/ 4889544 w 9177188"/>
                <a:gd name="connsiteY19" fmla="*/ 102451 h 10843163"/>
                <a:gd name="connsiteX20" fmla="*/ 4782086 w 9177188"/>
                <a:gd name="connsiteY20" fmla="*/ 0 h 10843163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39953 w 9177188"/>
                <a:gd name="connsiteY7" fmla="*/ 9945926 h 10843163"/>
                <a:gd name="connsiteX8" fmla="*/ 0 w 9177188"/>
                <a:gd name="connsiteY8" fmla="*/ 9812892 h 10843163"/>
                <a:gd name="connsiteX9" fmla="*/ 4782086 w 9177188"/>
                <a:gd name="connsiteY9" fmla="*/ 0 h 10843163"/>
                <a:gd name="connsiteX10" fmla="*/ 5178772 w 9177188"/>
                <a:gd name="connsiteY10" fmla="*/ 72751 h 10843163"/>
                <a:gd name="connsiteX11" fmla="*/ 9098084 w 9177188"/>
                <a:gd name="connsiteY11" fmla="*/ 3180682 h 10843163"/>
                <a:gd name="connsiteX12" fmla="*/ 9177188 w 9177188"/>
                <a:gd name="connsiteY12" fmla="*/ 3355652 h 10843163"/>
                <a:gd name="connsiteX13" fmla="*/ 9142812 w 9177188"/>
                <a:gd name="connsiteY13" fmla="*/ 3340111 h 10843163"/>
                <a:gd name="connsiteX14" fmla="*/ 6914524 w 9177188"/>
                <a:gd name="connsiteY14" fmla="*/ 2890240 h 10843163"/>
                <a:gd name="connsiteX15" fmla="*/ 6619934 w 9177188"/>
                <a:gd name="connsiteY15" fmla="*/ 2897689 h 10843163"/>
                <a:gd name="connsiteX16" fmla="*/ 6430430 w 9177188"/>
                <a:gd name="connsiteY16" fmla="*/ 2912099 h 10843163"/>
                <a:gd name="connsiteX17" fmla="*/ 6386026 w 9177188"/>
                <a:gd name="connsiteY17" fmla="*/ 2719705 h 10843163"/>
                <a:gd name="connsiteX18" fmla="*/ 4889544 w 9177188"/>
                <a:gd name="connsiteY18" fmla="*/ 102451 h 10843163"/>
                <a:gd name="connsiteX19" fmla="*/ 4782086 w 9177188"/>
                <a:gd name="connsiteY19" fmla="*/ 0 h 10843163"/>
                <a:gd name="connsiteX0" fmla="*/ 0 w 9177188"/>
                <a:gd name="connsiteY0" fmla="*/ 9812892 h 10047590"/>
                <a:gd name="connsiteX1" fmla="*/ 256304 w 9177188"/>
                <a:gd name="connsiteY1" fmla="*/ 9845460 h 10047590"/>
                <a:gd name="connsiteX2" fmla="*/ 841615 w 9177188"/>
                <a:gd name="connsiteY2" fmla="*/ 9875016 h 10047590"/>
                <a:gd name="connsiteX3" fmla="*/ 1136204 w 9177188"/>
                <a:gd name="connsiteY3" fmla="*/ 9867567 h 10047590"/>
                <a:gd name="connsiteX4" fmla="*/ 1325711 w 9177188"/>
                <a:gd name="connsiteY4" fmla="*/ 9853157 h 10047590"/>
                <a:gd name="connsiteX5" fmla="*/ 1370115 w 9177188"/>
                <a:gd name="connsiteY5" fmla="*/ 10045552 h 10047590"/>
                <a:gd name="connsiteX6" fmla="*/ 139953 w 9177188"/>
                <a:gd name="connsiteY6" fmla="*/ 9945926 h 10047590"/>
                <a:gd name="connsiteX7" fmla="*/ 0 w 9177188"/>
                <a:gd name="connsiteY7" fmla="*/ 9812892 h 10047590"/>
                <a:gd name="connsiteX8" fmla="*/ 4782086 w 9177188"/>
                <a:gd name="connsiteY8" fmla="*/ 0 h 10047590"/>
                <a:gd name="connsiteX9" fmla="*/ 5178772 w 9177188"/>
                <a:gd name="connsiteY9" fmla="*/ 72751 h 10047590"/>
                <a:gd name="connsiteX10" fmla="*/ 9098084 w 9177188"/>
                <a:gd name="connsiteY10" fmla="*/ 3180682 h 10047590"/>
                <a:gd name="connsiteX11" fmla="*/ 9177188 w 9177188"/>
                <a:gd name="connsiteY11" fmla="*/ 3355652 h 10047590"/>
                <a:gd name="connsiteX12" fmla="*/ 9142812 w 9177188"/>
                <a:gd name="connsiteY12" fmla="*/ 3340111 h 10047590"/>
                <a:gd name="connsiteX13" fmla="*/ 6914524 w 9177188"/>
                <a:gd name="connsiteY13" fmla="*/ 2890240 h 10047590"/>
                <a:gd name="connsiteX14" fmla="*/ 6619934 w 9177188"/>
                <a:gd name="connsiteY14" fmla="*/ 2897689 h 10047590"/>
                <a:gd name="connsiteX15" fmla="*/ 6430430 w 9177188"/>
                <a:gd name="connsiteY15" fmla="*/ 2912099 h 10047590"/>
                <a:gd name="connsiteX16" fmla="*/ 6386026 w 9177188"/>
                <a:gd name="connsiteY16" fmla="*/ 2719705 h 10047590"/>
                <a:gd name="connsiteX17" fmla="*/ 4889544 w 9177188"/>
                <a:gd name="connsiteY17" fmla="*/ 102451 h 10047590"/>
                <a:gd name="connsiteX18" fmla="*/ 4782086 w 9177188"/>
                <a:gd name="connsiteY18" fmla="*/ 0 h 10047590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25711 w 9177188"/>
                <a:gd name="connsiteY4" fmla="*/ 9853157 h 9945926"/>
                <a:gd name="connsiteX5" fmla="*/ 139953 w 9177188"/>
                <a:gd name="connsiteY5" fmla="*/ 9945926 h 9945926"/>
                <a:gd name="connsiteX6" fmla="*/ 0 w 9177188"/>
                <a:gd name="connsiteY6" fmla="*/ 9812892 h 9945926"/>
                <a:gd name="connsiteX7" fmla="*/ 4782086 w 9177188"/>
                <a:gd name="connsiteY7" fmla="*/ 0 h 9945926"/>
                <a:gd name="connsiteX8" fmla="*/ 5178772 w 9177188"/>
                <a:gd name="connsiteY8" fmla="*/ 72751 h 9945926"/>
                <a:gd name="connsiteX9" fmla="*/ 9098084 w 9177188"/>
                <a:gd name="connsiteY9" fmla="*/ 3180682 h 9945926"/>
                <a:gd name="connsiteX10" fmla="*/ 9177188 w 9177188"/>
                <a:gd name="connsiteY10" fmla="*/ 3355652 h 9945926"/>
                <a:gd name="connsiteX11" fmla="*/ 9142812 w 9177188"/>
                <a:gd name="connsiteY11" fmla="*/ 3340111 h 9945926"/>
                <a:gd name="connsiteX12" fmla="*/ 6914524 w 9177188"/>
                <a:gd name="connsiteY12" fmla="*/ 2890240 h 9945926"/>
                <a:gd name="connsiteX13" fmla="*/ 6619934 w 9177188"/>
                <a:gd name="connsiteY13" fmla="*/ 2897689 h 9945926"/>
                <a:gd name="connsiteX14" fmla="*/ 6430430 w 9177188"/>
                <a:gd name="connsiteY14" fmla="*/ 2912099 h 9945926"/>
                <a:gd name="connsiteX15" fmla="*/ 6386026 w 9177188"/>
                <a:gd name="connsiteY15" fmla="*/ 2719705 h 9945926"/>
                <a:gd name="connsiteX16" fmla="*/ 4889544 w 9177188"/>
                <a:gd name="connsiteY16" fmla="*/ 102451 h 9945926"/>
                <a:gd name="connsiteX17" fmla="*/ 4782086 w 9177188"/>
                <a:gd name="connsiteY17" fmla="*/ 0 h 9945926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9953 w 9177188"/>
                <a:gd name="connsiteY4" fmla="*/ 9945926 h 9945926"/>
                <a:gd name="connsiteX5" fmla="*/ 0 w 9177188"/>
                <a:gd name="connsiteY5" fmla="*/ 9812892 h 9945926"/>
                <a:gd name="connsiteX6" fmla="*/ 4782086 w 9177188"/>
                <a:gd name="connsiteY6" fmla="*/ 0 h 9945926"/>
                <a:gd name="connsiteX7" fmla="*/ 5178772 w 9177188"/>
                <a:gd name="connsiteY7" fmla="*/ 72751 h 9945926"/>
                <a:gd name="connsiteX8" fmla="*/ 9098084 w 9177188"/>
                <a:gd name="connsiteY8" fmla="*/ 3180682 h 9945926"/>
                <a:gd name="connsiteX9" fmla="*/ 9177188 w 9177188"/>
                <a:gd name="connsiteY9" fmla="*/ 3355652 h 9945926"/>
                <a:gd name="connsiteX10" fmla="*/ 9142812 w 9177188"/>
                <a:gd name="connsiteY10" fmla="*/ 3340111 h 9945926"/>
                <a:gd name="connsiteX11" fmla="*/ 6914524 w 9177188"/>
                <a:gd name="connsiteY11" fmla="*/ 2890240 h 9945926"/>
                <a:gd name="connsiteX12" fmla="*/ 6619934 w 9177188"/>
                <a:gd name="connsiteY12" fmla="*/ 2897689 h 9945926"/>
                <a:gd name="connsiteX13" fmla="*/ 6430430 w 9177188"/>
                <a:gd name="connsiteY13" fmla="*/ 2912099 h 9945926"/>
                <a:gd name="connsiteX14" fmla="*/ 6386026 w 9177188"/>
                <a:gd name="connsiteY14" fmla="*/ 2719705 h 9945926"/>
                <a:gd name="connsiteX15" fmla="*/ 4889544 w 9177188"/>
                <a:gd name="connsiteY15" fmla="*/ 102451 h 9945926"/>
                <a:gd name="connsiteX16" fmla="*/ 4782086 w 9177188"/>
                <a:gd name="connsiteY16" fmla="*/ 0 h 9945926"/>
                <a:gd name="connsiteX0" fmla="*/ 0 w 9177188"/>
                <a:gd name="connsiteY0" fmla="*/ 9812892 h 9947044"/>
                <a:gd name="connsiteX1" fmla="*/ 256304 w 9177188"/>
                <a:gd name="connsiteY1" fmla="*/ 9845460 h 9947044"/>
                <a:gd name="connsiteX2" fmla="*/ 841615 w 9177188"/>
                <a:gd name="connsiteY2" fmla="*/ 9875016 h 9947044"/>
                <a:gd name="connsiteX3" fmla="*/ 139953 w 9177188"/>
                <a:gd name="connsiteY3" fmla="*/ 9945926 h 9947044"/>
                <a:gd name="connsiteX4" fmla="*/ 0 w 9177188"/>
                <a:gd name="connsiteY4" fmla="*/ 9812892 h 9947044"/>
                <a:gd name="connsiteX5" fmla="*/ 4782086 w 9177188"/>
                <a:gd name="connsiteY5" fmla="*/ 0 h 9947044"/>
                <a:gd name="connsiteX6" fmla="*/ 5178772 w 9177188"/>
                <a:gd name="connsiteY6" fmla="*/ 72751 h 9947044"/>
                <a:gd name="connsiteX7" fmla="*/ 9098084 w 9177188"/>
                <a:gd name="connsiteY7" fmla="*/ 3180682 h 9947044"/>
                <a:gd name="connsiteX8" fmla="*/ 9177188 w 9177188"/>
                <a:gd name="connsiteY8" fmla="*/ 3355652 h 9947044"/>
                <a:gd name="connsiteX9" fmla="*/ 9142812 w 9177188"/>
                <a:gd name="connsiteY9" fmla="*/ 3340111 h 9947044"/>
                <a:gd name="connsiteX10" fmla="*/ 6914524 w 9177188"/>
                <a:gd name="connsiteY10" fmla="*/ 2890240 h 9947044"/>
                <a:gd name="connsiteX11" fmla="*/ 6619934 w 9177188"/>
                <a:gd name="connsiteY11" fmla="*/ 2897689 h 9947044"/>
                <a:gd name="connsiteX12" fmla="*/ 6430430 w 9177188"/>
                <a:gd name="connsiteY12" fmla="*/ 2912099 h 9947044"/>
                <a:gd name="connsiteX13" fmla="*/ 6386026 w 9177188"/>
                <a:gd name="connsiteY13" fmla="*/ 2719705 h 9947044"/>
                <a:gd name="connsiteX14" fmla="*/ 4889544 w 9177188"/>
                <a:gd name="connsiteY14" fmla="*/ 102451 h 9947044"/>
                <a:gd name="connsiteX15" fmla="*/ 4782086 w 9177188"/>
                <a:gd name="connsiteY15" fmla="*/ 0 h 9947044"/>
                <a:gd name="connsiteX0" fmla="*/ 0 w 9177188"/>
                <a:gd name="connsiteY0" fmla="*/ 9812892 h 9946178"/>
                <a:gd name="connsiteX1" fmla="*/ 256304 w 9177188"/>
                <a:gd name="connsiteY1" fmla="*/ 9845460 h 9946178"/>
                <a:gd name="connsiteX2" fmla="*/ 139953 w 9177188"/>
                <a:gd name="connsiteY2" fmla="*/ 9945926 h 9946178"/>
                <a:gd name="connsiteX3" fmla="*/ 0 w 9177188"/>
                <a:gd name="connsiteY3" fmla="*/ 9812892 h 9946178"/>
                <a:gd name="connsiteX4" fmla="*/ 4782086 w 9177188"/>
                <a:gd name="connsiteY4" fmla="*/ 0 h 9946178"/>
                <a:gd name="connsiteX5" fmla="*/ 5178772 w 9177188"/>
                <a:gd name="connsiteY5" fmla="*/ 72751 h 9946178"/>
                <a:gd name="connsiteX6" fmla="*/ 9098084 w 9177188"/>
                <a:gd name="connsiteY6" fmla="*/ 3180682 h 9946178"/>
                <a:gd name="connsiteX7" fmla="*/ 9177188 w 9177188"/>
                <a:gd name="connsiteY7" fmla="*/ 3355652 h 9946178"/>
                <a:gd name="connsiteX8" fmla="*/ 9142812 w 9177188"/>
                <a:gd name="connsiteY8" fmla="*/ 3340111 h 9946178"/>
                <a:gd name="connsiteX9" fmla="*/ 6914524 w 9177188"/>
                <a:gd name="connsiteY9" fmla="*/ 2890240 h 9946178"/>
                <a:gd name="connsiteX10" fmla="*/ 6619934 w 9177188"/>
                <a:gd name="connsiteY10" fmla="*/ 2897689 h 9946178"/>
                <a:gd name="connsiteX11" fmla="*/ 6430430 w 9177188"/>
                <a:gd name="connsiteY11" fmla="*/ 2912099 h 9946178"/>
                <a:gd name="connsiteX12" fmla="*/ 6386026 w 9177188"/>
                <a:gd name="connsiteY12" fmla="*/ 2719705 h 9946178"/>
                <a:gd name="connsiteX13" fmla="*/ 4889544 w 9177188"/>
                <a:gd name="connsiteY13" fmla="*/ 102451 h 9946178"/>
                <a:gd name="connsiteX14" fmla="*/ 4782086 w 9177188"/>
                <a:gd name="connsiteY14" fmla="*/ 0 h 9946178"/>
                <a:gd name="connsiteX0" fmla="*/ 0 w 9177188"/>
                <a:gd name="connsiteY0" fmla="*/ 9812892 h 9845460"/>
                <a:gd name="connsiteX1" fmla="*/ 256304 w 9177188"/>
                <a:gd name="connsiteY1" fmla="*/ 9845460 h 9845460"/>
                <a:gd name="connsiteX2" fmla="*/ 0 w 9177188"/>
                <a:gd name="connsiteY2" fmla="*/ 9812892 h 9845460"/>
                <a:gd name="connsiteX3" fmla="*/ 4782086 w 9177188"/>
                <a:gd name="connsiteY3" fmla="*/ 0 h 9845460"/>
                <a:gd name="connsiteX4" fmla="*/ 5178772 w 9177188"/>
                <a:gd name="connsiteY4" fmla="*/ 72751 h 9845460"/>
                <a:gd name="connsiteX5" fmla="*/ 9098084 w 9177188"/>
                <a:gd name="connsiteY5" fmla="*/ 3180682 h 9845460"/>
                <a:gd name="connsiteX6" fmla="*/ 9177188 w 9177188"/>
                <a:gd name="connsiteY6" fmla="*/ 3355652 h 9845460"/>
                <a:gd name="connsiteX7" fmla="*/ 9142812 w 9177188"/>
                <a:gd name="connsiteY7" fmla="*/ 3340111 h 9845460"/>
                <a:gd name="connsiteX8" fmla="*/ 6914524 w 9177188"/>
                <a:gd name="connsiteY8" fmla="*/ 2890240 h 9845460"/>
                <a:gd name="connsiteX9" fmla="*/ 6619934 w 9177188"/>
                <a:gd name="connsiteY9" fmla="*/ 2897689 h 9845460"/>
                <a:gd name="connsiteX10" fmla="*/ 6430430 w 9177188"/>
                <a:gd name="connsiteY10" fmla="*/ 2912099 h 9845460"/>
                <a:gd name="connsiteX11" fmla="*/ 6386026 w 9177188"/>
                <a:gd name="connsiteY11" fmla="*/ 2719705 h 9845460"/>
                <a:gd name="connsiteX12" fmla="*/ 4889544 w 9177188"/>
                <a:gd name="connsiteY12" fmla="*/ 102451 h 9845460"/>
                <a:gd name="connsiteX13" fmla="*/ 4782086 w 9177188"/>
                <a:gd name="connsiteY13" fmla="*/ 0 h 9845460"/>
                <a:gd name="connsiteX0" fmla="*/ 0 w 4395102"/>
                <a:gd name="connsiteY0" fmla="*/ 0 h 3355652"/>
                <a:gd name="connsiteX1" fmla="*/ 396686 w 4395102"/>
                <a:gd name="connsiteY1" fmla="*/ 72751 h 3355652"/>
                <a:gd name="connsiteX2" fmla="*/ 4315998 w 4395102"/>
                <a:gd name="connsiteY2" fmla="*/ 3180682 h 3355652"/>
                <a:gd name="connsiteX3" fmla="*/ 4395102 w 4395102"/>
                <a:gd name="connsiteY3" fmla="*/ 3355652 h 3355652"/>
                <a:gd name="connsiteX4" fmla="*/ 4360726 w 4395102"/>
                <a:gd name="connsiteY4" fmla="*/ 3340111 h 3355652"/>
                <a:gd name="connsiteX5" fmla="*/ 2132438 w 4395102"/>
                <a:gd name="connsiteY5" fmla="*/ 2890240 h 3355652"/>
                <a:gd name="connsiteX6" fmla="*/ 1837848 w 4395102"/>
                <a:gd name="connsiteY6" fmla="*/ 2897689 h 3355652"/>
                <a:gd name="connsiteX7" fmla="*/ 1648344 w 4395102"/>
                <a:gd name="connsiteY7" fmla="*/ 2912099 h 3355652"/>
                <a:gd name="connsiteX8" fmla="*/ 1603940 w 4395102"/>
                <a:gd name="connsiteY8" fmla="*/ 2719705 h 3355652"/>
                <a:gd name="connsiteX9" fmla="*/ 107458 w 4395102"/>
                <a:gd name="connsiteY9" fmla="*/ 102451 h 3355652"/>
                <a:gd name="connsiteX10" fmla="*/ 0 w 4395102"/>
                <a:gd name="connsiteY10" fmla="*/ 0 h 33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95102" h="3355652">
                  <a:moveTo>
                    <a:pt x="0" y="0"/>
                  </a:moveTo>
                  <a:lnTo>
                    <a:pt x="396686" y="72751"/>
                  </a:lnTo>
                  <a:cubicBezTo>
                    <a:pt x="2127968" y="455339"/>
                    <a:pt x="3564816" y="1621726"/>
                    <a:pt x="4315998" y="3180682"/>
                  </a:cubicBezTo>
                  <a:lnTo>
                    <a:pt x="4395102" y="3355652"/>
                  </a:lnTo>
                  <a:lnTo>
                    <a:pt x="4360726" y="3340111"/>
                  </a:lnTo>
                  <a:cubicBezTo>
                    <a:pt x="3675838" y="3050428"/>
                    <a:pt x="2922846" y="2890240"/>
                    <a:pt x="2132438" y="2890240"/>
                  </a:cubicBezTo>
                  <a:cubicBezTo>
                    <a:pt x="2033638" y="2890240"/>
                    <a:pt x="1935420" y="2892743"/>
                    <a:pt x="1837848" y="2897689"/>
                  </a:cubicBezTo>
                  <a:lnTo>
                    <a:pt x="1648344" y="2912099"/>
                  </a:lnTo>
                  <a:lnTo>
                    <a:pt x="1603940" y="2719705"/>
                  </a:lnTo>
                  <a:cubicBezTo>
                    <a:pt x="1345102" y="1713686"/>
                    <a:pt x="819678" y="814671"/>
                    <a:pt x="107458" y="1024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>
                <a:solidFill>
                  <a:srgbClr val="FFFFFF"/>
                </a:solidFill>
                <a:latin typeface="Roboto"/>
              </a:endParaRPr>
            </a:p>
          </p:txBody>
        </p:sp>
      </p:grpSp>
      <p:grpSp>
        <p:nvGrpSpPr>
          <p:cNvPr id="122" name="Группа 53">
            <a:extLst>
              <a:ext uri="{FF2B5EF4-FFF2-40B4-BE49-F238E27FC236}">
                <a16:creationId xmlns:a16="http://schemas.microsoft.com/office/drawing/2014/main" id="{4C091BCD-EE4F-174E-8501-02EE8806E897}"/>
              </a:ext>
            </a:extLst>
          </p:cNvPr>
          <p:cNvGrpSpPr>
            <a:grpSpLocks noChangeAspect="1"/>
          </p:cNvGrpSpPr>
          <p:nvPr/>
        </p:nvGrpSpPr>
        <p:grpSpPr>
          <a:xfrm>
            <a:off x="4062874" y="1687897"/>
            <a:ext cx="2356121" cy="2356121"/>
            <a:chOff x="4416722" y="4770562"/>
            <a:chExt cx="4434178" cy="4434178"/>
          </a:xfrm>
        </p:grpSpPr>
        <p:grpSp>
          <p:nvGrpSpPr>
            <p:cNvPr id="123" name="Группа 55">
              <a:extLst>
                <a:ext uri="{FF2B5EF4-FFF2-40B4-BE49-F238E27FC236}">
                  <a16:creationId xmlns:a16="http://schemas.microsoft.com/office/drawing/2014/main" id="{71CAD2DC-99DB-374E-9CBB-78D8CAA952A5}"/>
                </a:ext>
              </a:extLst>
            </p:cNvPr>
            <p:cNvGrpSpPr/>
            <p:nvPr/>
          </p:nvGrpSpPr>
          <p:grpSpPr>
            <a:xfrm>
              <a:off x="4416722" y="4770562"/>
              <a:ext cx="4434178" cy="4434178"/>
              <a:chOff x="9012094" y="4541398"/>
              <a:chExt cx="9073008" cy="9073008"/>
            </a:xfrm>
          </p:grpSpPr>
          <p:sp>
            <p:nvSpPr>
              <p:cNvPr id="125" name="Овал 57">
                <a:extLst>
                  <a:ext uri="{FF2B5EF4-FFF2-40B4-BE49-F238E27FC236}">
                    <a16:creationId xmlns:a16="http://schemas.microsoft.com/office/drawing/2014/main" id="{1F702B10-977A-684C-8EB4-0F590CA27614}"/>
                  </a:ext>
                </a:extLst>
              </p:cNvPr>
              <p:cNvSpPr/>
              <p:nvPr/>
            </p:nvSpPr>
            <p:spPr>
              <a:xfrm>
                <a:off x="9012094" y="4541398"/>
                <a:ext cx="9073008" cy="9073008"/>
              </a:xfrm>
              <a:prstGeom prst="ellipse">
                <a:avLst/>
              </a:prstGeom>
              <a:solidFill>
                <a:srgbClr val="FFB7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 dirty="0">
                  <a:solidFill>
                    <a:srgbClr val="FFFFFF"/>
                  </a:solidFill>
                  <a:latin typeface="Roboto"/>
                </a:endParaRPr>
              </a:p>
            </p:txBody>
          </p:sp>
          <p:sp>
            <p:nvSpPr>
              <p:cNvPr id="126" name="Овал 58">
                <a:extLst>
                  <a:ext uri="{FF2B5EF4-FFF2-40B4-BE49-F238E27FC236}">
                    <a16:creationId xmlns:a16="http://schemas.microsoft.com/office/drawing/2014/main" id="{E3A31B31-6C03-5249-A5CC-6164D57327B7}"/>
                  </a:ext>
                </a:extLst>
              </p:cNvPr>
              <p:cNvSpPr/>
              <p:nvPr/>
            </p:nvSpPr>
            <p:spPr>
              <a:xfrm>
                <a:off x="9141678" y="4541398"/>
                <a:ext cx="8614679" cy="8614679"/>
              </a:xfrm>
              <a:prstGeom prst="ellipse">
                <a:avLst/>
              </a:prstGeom>
              <a:gradFill>
                <a:gsLst>
                  <a:gs pos="100000">
                    <a:schemeClr val="bg1"/>
                  </a:gs>
                  <a:gs pos="63000">
                    <a:schemeClr val="bg1">
                      <a:alpha val="0"/>
                    </a:schemeClr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ru-RU" sz="900" dirty="0">
                  <a:solidFill>
                    <a:srgbClr val="FFFFFF"/>
                  </a:solidFill>
                  <a:latin typeface="Roboto"/>
                </a:endParaRPr>
              </a:p>
            </p:txBody>
          </p:sp>
        </p:grpSp>
        <p:sp>
          <p:nvSpPr>
            <p:cNvPr id="124" name="Полилиния 56">
              <a:extLst>
                <a:ext uri="{FF2B5EF4-FFF2-40B4-BE49-F238E27FC236}">
                  <a16:creationId xmlns:a16="http://schemas.microsoft.com/office/drawing/2014/main" id="{2397788B-7956-4043-B29A-9E99CEFB766C}"/>
                </a:ext>
              </a:extLst>
            </p:cNvPr>
            <p:cNvSpPr/>
            <p:nvPr/>
          </p:nvSpPr>
          <p:spPr>
            <a:xfrm>
              <a:off x="6937003" y="4914578"/>
              <a:ext cx="1514105" cy="1156016"/>
            </a:xfrm>
            <a:custGeom>
              <a:avLst/>
              <a:gdLst>
                <a:gd name="connsiteX0" fmla="*/ 0 w 9177188"/>
                <a:gd name="connsiteY0" fmla="*/ 9812892 h 10921772"/>
                <a:gd name="connsiteX1" fmla="*/ 256304 w 9177188"/>
                <a:gd name="connsiteY1" fmla="*/ 9845460 h 10921772"/>
                <a:gd name="connsiteX2" fmla="*/ 841615 w 9177188"/>
                <a:gd name="connsiteY2" fmla="*/ 9875016 h 10921772"/>
                <a:gd name="connsiteX3" fmla="*/ 1136204 w 9177188"/>
                <a:gd name="connsiteY3" fmla="*/ 9867567 h 10921772"/>
                <a:gd name="connsiteX4" fmla="*/ 1325711 w 9177188"/>
                <a:gd name="connsiteY4" fmla="*/ 9853157 h 10921772"/>
                <a:gd name="connsiteX5" fmla="*/ 1370115 w 9177188"/>
                <a:gd name="connsiteY5" fmla="*/ 10045552 h 10921772"/>
                <a:gd name="connsiteX6" fmla="*/ 1639759 w 9177188"/>
                <a:gd name="connsiteY6" fmla="*/ 10843163 h 10921772"/>
                <a:gd name="connsiteX7" fmla="*/ 1675297 w 9177188"/>
                <a:gd name="connsiteY7" fmla="*/ 10921772 h 10921772"/>
                <a:gd name="connsiteX8" fmla="*/ 1456094 w 9177188"/>
                <a:gd name="connsiteY8" fmla="*/ 10822673 h 10921772"/>
                <a:gd name="connsiteX9" fmla="*/ 139953 w 9177188"/>
                <a:gd name="connsiteY9" fmla="*/ 9945926 h 10921772"/>
                <a:gd name="connsiteX10" fmla="*/ 4782086 w 9177188"/>
                <a:gd name="connsiteY10" fmla="*/ 0 h 10921772"/>
                <a:gd name="connsiteX11" fmla="*/ 5178772 w 9177188"/>
                <a:gd name="connsiteY11" fmla="*/ 72751 h 10921772"/>
                <a:gd name="connsiteX12" fmla="*/ 9098084 w 9177188"/>
                <a:gd name="connsiteY12" fmla="*/ 3180682 h 10921772"/>
                <a:gd name="connsiteX13" fmla="*/ 9177188 w 9177188"/>
                <a:gd name="connsiteY13" fmla="*/ 3355652 h 10921772"/>
                <a:gd name="connsiteX14" fmla="*/ 9142812 w 9177188"/>
                <a:gd name="connsiteY14" fmla="*/ 3340111 h 10921772"/>
                <a:gd name="connsiteX15" fmla="*/ 6914524 w 9177188"/>
                <a:gd name="connsiteY15" fmla="*/ 2890240 h 10921772"/>
                <a:gd name="connsiteX16" fmla="*/ 6619934 w 9177188"/>
                <a:gd name="connsiteY16" fmla="*/ 2897689 h 10921772"/>
                <a:gd name="connsiteX17" fmla="*/ 6430430 w 9177188"/>
                <a:gd name="connsiteY17" fmla="*/ 2912099 h 10921772"/>
                <a:gd name="connsiteX18" fmla="*/ 6386026 w 9177188"/>
                <a:gd name="connsiteY18" fmla="*/ 2719705 h 10921772"/>
                <a:gd name="connsiteX19" fmla="*/ 4889544 w 9177188"/>
                <a:gd name="connsiteY19" fmla="*/ 102451 h 10921772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456094 w 9177188"/>
                <a:gd name="connsiteY7" fmla="*/ 10822673 h 10843163"/>
                <a:gd name="connsiteX8" fmla="*/ 139953 w 9177188"/>
                <a:gd name="connsiteY8" fmla="*/ 9945926 h 10843163"/>
                <a:gd name="connsiteX9" fmla="*/ 0 w 9177188"/>
                <a:gd name="connsiteY9" fmla="*/ 9812892 h 10843163"/>
                <a:gd name="connsiteX10" fmla="*/ 4782086 w 9177188"/>
                <a:gd name="connsiteY10" fmla="*/ 0 h 10843163"/>
                <a:gd name="connsiteX11" fmla="*/ 5178772 w 9177188"/>
                <a:gd name="connsiteY11" fmla="*/ 72751 h 10843163"/>
                <a:gd name="connsiteX12" fmla="*/ 9098084 w 9177188"/>
                <a:gd name="connsiteY12" fmla="*/ 3180682 h 10843163"/>
                <a:gd name="connsiteX13" fmla="*/ 9177188 w 9177188"/>
                <a:gd name="connsiteY13" fmla="*/ 3355652 h 10843163"/>
                <a:gd name="connsiteX14" fmla="*/ 9142812 w 9177188"/>
                <a:gd name="connsiteY14" fmla="*/ 3340111 h 10843163"/>
                <a:gd name="connsiteX15" fmla="*/ 6914524 w 9177188"/>
                <a:gd name="connsiteY15" fmla="*/ 2890240 h 10843163"/>
                <a:gd name="connsiteX16" fmla="*/ 6619934 w 9177188"/>
                <a:gd name="connsiteY16" fmla="*/ 2897689 h 10843163"/>
                <a:gd name="connsiteX17" fmla="*/ 6430430 w 9177188"/>
                <a:gd name="connsiteY17" fmla="*/ 2912099 h 10843163"/>
                <a:gd name="connsiteX18" fmla="*/ 6386026 w 9177188"/>
                <a:gd name="connsiteY18" fmla="*/ 2719705 h 10843163"/>
                <a:gd name="connsiteX19" fmla="*/ 4889544 w 9177188"/>
                <a:gd name="connsiteY19" fmla="*/ 102451 h 10843163"/>
                <a:gd name="connsiteX20" fmla="*/ 4782086 w 9177188"/>
                <a:gd name="connsiteY20" fmla="*/ 0 h 10843163"/>
                <a:gd name="connsiteX0" fmla="*/ 0 w 9177188"/>
                <a:gd name="connsiteY0" fmla="*/ 9812892 h 10843163"/>
                <a:gd name="connsiteX1" fmla="*/ 256304 w 9177188"/>
                <a:gd name="connsiteY1" fmla="*/ 9845460 h 10843163"/>
                <a:gd name="connsiteX2" fmla="*/ 841615 w 9177188"/>
                <a:gd name="connsiteY2" fmla="*/ 9875016 h 10843163"/>
                <a:gd name="connsiteX3" fmla="*/ 1136204 w 9177188"/>
                <a:gd name="connsiteY3" fmla="*/ 9867567 h 10843163"/>
                <a:gd name="connsiteX4" fmla="*/ 1325711 w 9177188"/>
                <a:gd name="connsiteY4" fmla="*/ 9853157 h 10843163"/>
                <a:gd name="connsiteX5" fmla="*/ 1370115 w 9177188"/>
                <a:gd name="connsiteY5" fmla="*/ 10045552 h 10843163"/>
                <a:gd name="connsiteX6" fmla="*/ 1639759 w 9177188"/>
                <a:gd name="connsiteY6" fmla="*/ 10843163 h 10843163"/>
                <a:gd name="connsiteX7" fmla="*/ 139953 w 9177188"/>
                <a:gd name="connsiteY7" fmla="*/ 9945926 h 10843163"/>
                <a:gd name="connsiteX8" fmla="*/ 0 w 9177188"/>
                <a:gd name="connsiteY8" fmla="*/ 9812892 h 10843163"/>
                <a:gd name="connsiteX9" fmla="*/ 4782086 w 9177188"/>
                <a:gd name="connsiteY9" fmla="*/ 0 h 10843163"/>
                <a:gd name="connsiteX10" fmla="*/ 5178772 w 9177188"/>
                <a:gd name="connsiteY10" fmla="*/ 72751 h 10843163"/>
                <a:gd name="connsiteX11" fmla="*/ 9098084 w 9177188"/>
                <a:gd name="connsiteY11" fmla="*/ 3180682 h 10843163"/>
                <a:gd name="connsiteX12" fmla="*/ 9177188 w 9177188"/>
                <a:gd name="connsiteY12" fmla="*/ 3355652 h 10843163"/>
                <a:gd name="connsiteX13" fmla="*/ 9142812 w 9177188"/>
                <a:gd name="connsiteY13" fmla="*/ 3340111 h 10843163"/>
                <a:gd name="connsiteX14" fmla="*/ 6914524 w 9177188"/>
                <a:gd name="connsiteY14" fmla="*/ 2890240 h 10843163"/>
                <a:gd name="connsiteX15" fmla="*/ 6619934 w 9177188"/>
                <a:gd name="connsiteY15" fmla="*/ 2897689 h 10843163"/>
                <a:gd name="connsiteX16" fmla="*/ 6430430 w 9177188"/>
                <a:gd name="connsiteY16" fmla="*/ 2912099 h 10843163"/>
                <a:gd name="connsiteX17" fmla="*/ 6386026 w 9177188"/>
                <a:gd name="connsiteY17" fmla="*/ 2719705 h 10843163"/>
                <a:gd name="connsiteX18" fmla="*/ 4889544 w 9177188"/>
                <a:gd name="connsiteY18" fmla="*/ 102451 h 10843163"/>
                <a:gd name="connsiteX19" fmla="*/ 4782086 w 9177188"/>
                <a:gd name="connsiteY19" fmla="*/ 0 h 10843163"/>
                <a:gd name="connsiteX0" fmla="*/ 0 w 9177188"/>
                <a:gd name="connsiteY0" fmla="*/ 9812892 h 10047590"/>
                <a:gd name="connsiteX1" fmla="*/ 256304 w 9177188"/>
                <a:gd name="connsiteY1" fmla="*/ 9845460 h 10047590"/>
                <a:gd name="connsiteX2" fmla="*/ 841615 w 9177188"/>
                <a:gd name="connsiteY2" fmla="*/ 9875016 h 10047590"/>
                <a:gd name="connsiteX3" fmla="*/ 1136204 w 9177188"/>
                <a:gd name="connsiteY3" fmla="*/ 9867567 h 10047590"/>
                <a:gd name="connsiteX4" fmla="*/ 1325711 w 9177188"/>
                <a:gd name="connsiteY4" fmla="*/ 9853157 h 10047590"/>
                <a:gd name="connsiteX5" fmla="*/ 1370115 w 9177188"/>
                <a:gd name="connsiteY5" fmla="*/ 10045552 h 10047590"/>
                <a:gd name="connsiteX6" fmla="*/ 139953 w 9177188"/>
                <a:gd name="connsiteY6" fmla="*/ 9945926 h 10047590"/>
                <a:gd name="connsiteX7" fmla="*/ 0 w 9177188"/>
                <a:gd name="connsiteY7" fmla="*/ 9812892 h 10047590"/>
                <a:gd name="connsiteX8" fmla="*/ 4782086 w 9177188"/>
                <a:gd name="connsiteY8" fmla="*/ 0 h 10047590"/>
                <a:gd name="connsiteX9" fmla="*/ 5178772 w 9177188"/>
                <a:gd name="connsiteY9" fmla="*/ 72751 h 10047590"/>
                <a:gd name="connsiteX10" fmla="*/ 9098084 w 9177188"/>
                <a:gd name="connsiteY10" fmla="*/ 3180682 h 10047590"/>
                <a:gd name="connsiteX11" fmla="*/ 9177188 w 9177188"/>
                <a:gd name="connsiteY11" fmla="*/ 3355652 h 10047590"/>
                <a:gd name="connsiteX12" fmla="*/ 9142812 w 9177188"/>
                <a:gd name="connsiteY12" fmla="*/ 3340111 h 10047590"/>
                <a:gd name="connsiteX13" fmla="*/ 6914524 w 9177188"/>
                <a:gd name="connsiteY13" fmla="*/ 2890240 h 10047590"/>
                <a:gd name="connsiteX14" fmla="*/ 6619934 w 9177188"/>
                <a:gd name="connsiteY14" fmla="*/ 2897689 h 10047590"/>
                <a:gd name="connsiteX15" fmla="*/ 6430430 w 9177188"/>
                <a:gd name="connsiteY15" fmla="*/ 2912099 h 10047590"/>
                <a:gd name="connsiteX16" fmla="*/ 6386026 w 9177188"/>
                <a:gd name="connsiteY16" fmla="*/ 2719705 h 10047590"/>
                <a:gd name="connsiteX17" fmla="*/ 4889544 w 9177188"/>
                <a:gd name="connsiteY17" fmla="*/ 102451 h 10047590"/>
                <a:gd name="connsiteX18" fmla="*/ 4782086 w 9177188"/>
                <a:gd name="connsiteY18" fmla="*/ 0 h 10047590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25711 w 9177188"/>
                <a:gd name="connsiteY4" fmla="*/ 9853157 h 9945926"/>
                <a:gd name="connsiteX5" fmla="*/ 139953 w 9177188"/>
                <a:gd name="connsiteY5" fmla="*/ 9945926 h 9945926"/>
                <a:gd name="connsiteX6" fmla="*/ 0 w 9177188"/>
                <a:gd name="connsiteY6" fmla="*/ 9812892 h 9945926"/>
                <a:gd name="connsiteX7" fmla="*/ 4782086 w 9177188"/>
                <a:gd name="connsiteY7" fmla="*/ 0 h 9945926"/>
                <a:gd name="connsiteX8" fmla="*/ 5178772 w 9177188"/>
                <a:gd name="connsiteY8" fmla="*/ 72751 h 9945926"/>
                <a:gd name="connsiteX9" fmla="*/ 9098084 w 9177188"/>
                <a:gd name="connsiteY9" fmla="*/ 3180682 h 9945926"/>
                <a:gd name="connsiteX10" fmla="*/ 9177188 w 9177188"/>
                <a:gd name="connsiteY10" fmla="*/ 3355652 h 9945926"/>
                <a:gd name="connsiteX11" fmla="*/ 9142812 w 9177188"/>
                <a:gd name="connsiteY11" fmla="*/ 3340111 h 9945926"/>
                <a:gd name="connsiteX12" fmla="*/ 6914524 w 9177188"/>
                <a:gd name="connsiteY12" fmla="*/ 2890240 h 9945926"/>
                <a:gd name="connsiteX13" fmla="*/ 6619934 w 9177188"/>
                <a:gd name="connsiteY13" fmla="*/ 2897689 h 9945926"/>
                <a:gd name="connsiteX14" fmla="*/ 6430430 w 9177188"/>
                <a:gd name="connsiteY14" fmla="*/ 2912099 h 9945926"/>
                <a:gd name="connsiteX15" fmla="*/ 6386026 w 9177188"/>
                <a:gd name="connsiteY15" fmla="*/ 2719705 h 9945926"/>
                <a:gd name="connsiteX16" fmla="*/ 4889544 w 9177188"/>
                <a:gd name="connsiteY16" fmla="*/ 102451 h 9945926"/>
                <a:gd name="connsiteX17" fmla="*/ 4782086 w 9177188"/>
                <a:gd name="connsiteY17" fmla="*/ 0 h 9945926"/>
                <a:gd name="connsiteX0" fmla="*/ 0 w 9177188"/>
                <a:gd name="connsiteY0" fmla="*/ 9812892 h 9945926"/>
                <a:gd name="connsiteX1" fmla="*/ 256304 w 9177188"/>
                <a:gd name="connsiteY1" fmla="*/ 9845460 h 9945926"/>
                <a:gd name="connsiteX2" fmla="*/ 841615 w 9177188"/>
                <a:gd name="connsiteY2" fmla="*/ 9875016 h 9945926"/>
                <a:gd name="connsiteX3" fmla="*/ 1136204 w 9177188"/>
                <a:gd name="connsiteY3" fmla="*/ 9867567 h 9945926"/>
                <a:gd name="connsiteX4" fmla="*/ 139953 w 9177188"/>
                <a:gd name="connsiteY4" fmla="*/ 9945926 h 9945926"/>
                <a:gd name="connsiteX5" fmla="*/ 0 w 9177188"/>
                <a:gd name="connsiteY5" fmla="*/ 9812892 h 9945926"/>
                <a:gd name="connsiteX6" fmla="*/ 4782086 w 9177188"/>
                <a:gd name="connsiteY6" fmla="*/ 0 h 9945926"/>
                <a:gd name="connsiteX7" fmla="*/ 5178772 w 9177188"/>
                <a:gd name="connsiteY7" fmla="*/ 72751 h 9945926"/>
                <a:gd name="connsiteX8" fmla="*/ 9098084 w 9177188"/>
                <a:gd name="connsiteY8" fmla="*/ 3180682 h 9945926"/>
                <a:gd name="connsiteX9" fmla="*/ 9177188 w 9177188"/>
                <a:gd name="connsiteY9" fmla="*/ 3355652 h 9945926"/>
                <a:gd name="connsiteX10" fmla="*/ 9142812 w 9177188"/>
                <a:gd name="connsiteY10" fmla="*/ 3340111 h 9945926"/>
                <a:gd name="connsiteX11" fmla="*/ 6914524 w 9177188"/>
                <a:gd name="connsiteY11" fmla="*/ 2890240 h 9945926"/>
                <a:gd name="connsiteX12" fmla="*/ 6619934 w 9177188"/>
                <a:gd name="connsiteY12" fmla="*/ 2897689 h 9945926"/>
                <a:gd name="connsiteX13" fmla="*/ 6430430 w 9177188"/>
                <a:gd name="connsiteY13" fmla="*/ 2912099 h 9945926"/>
                <a:gd name="connsiteX14" fmla="*/ 6386026 w 9177188"/>
                <a:gd name="connsiteY14" fmla="*/ 2719705 h 9945926"/>
                <a:gd name="connsiteX15" fmla="*/ 4889544 w 9177188"/>
                <a:gd name="connsiteY15" fmla="*/ 102451 h 9945926"/>
                <a:gd name="connsiteX16" fmla="*/ 4782086 w 9177188"/>
                <a:gd name="connsiteY16" fmla="*/ 0 h 9945926"/>
                <a:gd name="connsiteX0" fmla="*/ 0 w 9177188"/>
                <a:gd name="connsiteY0" fmla="*/ 9812892 h 9947044"/>
                <a:gd name="connsiteX1" fmla="*/ 256304 w 9177188"/>
                <a:gd name="connsiteY1" fmla="*/ 9845460 h 9947044"/>
                <a:gd name="connsiteX2" fmla="*/ 841615 w 9177188"/>
                <a:gd name="connsiteY2" fmla="*/ 9875016 h 9947044"/>
                <a:gd name="connsiteX3" fmla="*/ 139953 w 9177188"/>
                <a:gd name="connsiteY3" fmla="*/ 9945926 h 9947044"/>
                <a:gd name="connsiteX4" fmla="*/ 0 w 9177188"/>
                <a:gd name="connsiteY4" fmla="*/ 9812892 h 9947044"/>
                <a:gd name="connsiteX5" fmla="*/ 4782086 w 9177188"/>
                <a:gd name="connsiteY5" fmla="*/ 0 h 9947044"/>
                <a:gd name="connsiteX6" fmla="*/ 5178772 w 9177188"/>
                <a:gd name="connsiteY6" fmla="*/ 72751 h 9947044"/>
                <a:gd name="connsiteX7" fmla="*/ 9098084 w 9177188"/>
                <a:gd name="connsiteY7" fmla="*/ 3180682 h 9947044"/>
                <a:gd name="connsiteX8" fmla="*/ 9177188 w 9177188"/>
                <a:gd name="connsiteY8" fmla="*/ 3355652 h 9947044"/>
                <a:gd name="connsiteX9" fmla="*/ 9142812 w 9177188"/>
                <a:gd name="connsiteY9" fmla="*/ 3340111 h 9947044"/>
                <a:gd name="connsiteX10" fmla="*/ 6914524 w 9177188"/>
                <a:gd name="connsiteY10" fmla="*/ 2890240 h 9947044"/>
                <a:gd name="connsiteX11" fmla="*/ 6619934 w 9177188"/>
                <a:gd name="connsiteY11" fmla="*/ 2897689 h 9947044"/>
                <a:gd name="connsiteX12" fmla="*/ 6430430 w 9177188"/>
                <a:gd name="connsiteY12" fmla="*/ 2912099 h 9947044"/>
                <a:gd name="connsiteX13" fmla="*/ 6386026 w 9177188"/>
                <a:gd name="connsiteY13" fmla="*/ 2719705 h 9947044"/>
                <a:gd name="connsiteX14" fmla="*/ 4889544 w 9177188"/>
                <a:gd name="connsiteY14" fmla="*/ 102451 h 9947044"/>
                <a:gd name="connsiteX15" fmla="*/ 4782086 w 9177188"/>
                <a:gd name="connsiteY15" fmla="*/ 0 h 9947044"/>
                <a:gd name="connsiteX0" fmla="*/ 0 w 9177188"/>
                <a:gd name="connsiteY0" fmla="*/ 9812892 h 9946178"/>
                <a:gd name="connsiteX1" fmla="*/ 256304 w 9177188"/>
                <a:gd name="connsiteY1" fmla="*/ 9845460 h 9946178"/>
                <a:gd name="connsiteX2" fmla="*/ 139953 w 9177188"/>
                <a:gd name="connsiteY2" fmla="*/ 9945926 h 9946178"/>
                <a:gd name="connsiteX3" fmla="*/ 0 w 9177188"/>
                <a:gd name="connsiteY3" fmla="*/ 9812892 h 9946178"/>
                <a:gd name="connsiteX4" fmla="*/ 4782086 w 9177188"/>
                <a:gd name="connsiteY4" fmla="*/ 0 h 9946178"/>
                <a:gd name="connsiteX5" fmla="*/ 5178772 w 9177188"/>
                <a:gd name="connsiteY5" fmla="*/ 72751 h 9946178"/>
                <a:gd name="connsiteX6" fmla="*/ 9098084 w 9177188"/>
                <a:gd name="connsiteY6" fmla="*/ 3180682 h 9946178"/>
                <a:gd name="connsiteX7" fmla="*/ 9177188 w 9177188"/>
                <a:gd name="connsiteY7" fmla="*/ 3355652 h 9946178"/>
                <a:gd name="connsiteX8" fmla="*/ 9142812 w 9177188"/>
                <a:gd name="connsiteY8" fmla="*/ 3340111 h 9946178"/>
                <a:gd name="connsiteX9" fmla="*/ 6914524 w 9177188"/>
                <a:gd name="connsiteY9" fmla="*/ 2890240 h 9946178"/>
                <a:gd name="connsiteX10" fmla="*/ 6619934 w 9177188"/>
                <a:gd name="connsiteY10" fmla="*/ 2897689 h 9946178"/>
                <a:gd name="connsiteX11" fmla="*/ 6430430 w 9177188"/>
                <a:gd name="connsiteY11" fmla="*/ 2912099 h 9946178"/>
                <a:gd name="connsiteX12" fmla="*/ 6386026 w 9177188"/>
                <a:gd name="connsiteY12" fmla="*/ 2719705 h 9946178"/>
                <a:gd name="connsiteX13" fmla="*/ 4889544 w 9177188"/>
                <a:gd name="connsiteY13" fmla="*/ 102451 h 9946178"/>
                <a:gd name="connsiteX14" fmla="*/ 4782086 w 9177188"/>
                <a:gd name="connsiteY14" fmla="*/ 0 h 9946178"/>
                <a:gd name="connsiteX0" fmla="*/ 0 w 9177188"/>
                <a:gd name="connsiteY0" fmla="*/ 9812892 h 9845460"/>
                <a:gd name="connsiteX1" fmla="*/ 256304 w 9177188"/>
                <a:gd name="connsiteY1" fmla="*/ 9845460 h 9845460"/>
                <a:gd name="connsiteX2" fmla="*/ 0 w 9177188"/>
                <a:gd name="connsiteY2" fmla="*/ 9812892 h 9845460"/>
                <a:gd name="connsiteX3" fmla="*/ 4782086 w 9177188"/>
                <a:gd name="connsiteY3" fmla="*/ 0 h 9845460"/>
                <a:gd name="connsiteX4" fmla="*/ 5178772 w 9177188"/>
                <a:gd name="connsiteY4" fmla="*/ 72751 h 9845460"/>
                <a:gd name="connsiteX5" fmla="*/ 9098084 w 9177188"/>
                <a:gd name="connsiteY5" fmla="*/ 3180682 h 9845460"/>
                <a:gd name="connsiteX6" fmla="*/ 9177188 w 9177188"/>
                <a:gd name="connsiteY6" fmla="*/ 3355652 h 9845460"/>
                <a:gd name="connsiteX7" fmla="*/ 9142812 w 9177188"/>
                <a:gd name="connsiteY7" fmla="*/ 3340111 h 9845460"/>
                <a:gd name="connsiteX8" fmla="*/ 6914524 w 9177188"/>
                <a:gd name="connsiteY8" fmla="*/ 2890240 h 9845460"/>
                <a:gd name="connsiteX9" fmla="*/ 6619934 w 9177188"/>
                <a:gd name="connsiteY9" fmla="*/ 2897689 h 9845460"/>
                <a:gd name="connsiteX10" fmla="*/ 6430430 w 9177188"/>
                <a:gd name="connsiteY10" fmla="*/ 2912099 h 9845460"/>
                <a:gd name="connsiteX11" fmla="*/ 6386026 w 9177188"/>
                <a:gd name="connsiteY11" fmla="*/ 2719705 h 9845460"/>
                <a:gd name="connsiteX12" fmla="*/ 4889544 w 9177188"/>
                <a:gd name="connsiteY12" fmla="*/ 102451 h 9845460"/>
                <a:gd name="connsiteX13" fmla="*/ 4782086 w 9177188"/>
                <a:gd name="connsiteY13" fmla="*/ 0 h 9845460"/>
                <a:gd name="connsiteX0" fmla="*/ 0 w 4395102"/>
                <a:gd name="connsiteY0" fmla="*/ 0 h 3355652"/>
                <a:gd name="connsiteX1" fmla="*/ 396686 w 4395102"/>
                <a:gd name="connsiteY1" fmla="*/ 72751 h 3355652"/>
                <a:gd name="connsiteX2" fmla="*/ 4315998 w 4395102"/>
                <a:gd name="connsiteY2" fmla="*/ 3180682 h 3355652"/>
                <a:gd name="connsiteX3" fmla="*/ 4395102 w 4395102"/>
                <a:gd name="connsiteY3" fmla="*/ 3355652 h 3355652"/>
                <a:gd name="connsiteX4" fmla="*/ 4360726 w 4395102"/>
                <a:gd name="connsiteY4" fmla="*/ 3340111 h 3355652"/>
                <a:gd name="connsiteX5" fmla="*/ 2132438 w 4395102"/>
                <a:gd name="connsiteY5" fmla="*/ 2890240 h 3355652"/>
                <a:gd name="connsiteX6" fmla="*/ 1837848 w 4395102"/>
                <a:gd name="connsiteY6" fmla="*/ 2897689 h 3355652"/>
                <a:gd name="connsiteX7" fmla="*/ 1648344 w 4395102"/>
                <a:gd name="connsiteY7" fmla="*/ 2912099 h 3355652"/>
                <a:gd name="connsiteX8" fmla="*/ 1603940 w 4395102"/>
                <a:gd name="connsiteY8" fmla="*/ 2719705 h 3355652"/>
                <a:gd name="connsiteX9" fmla="*/ 107458 w 4395102"/>
                <a:gd name="connsiteY9" fmla="*/ 102451 h 3355652"/>
                <a:gd name="connsiteX10" fmla="*/ 0 w 4395102"/>
                <a:gd name="connsiteY10" fmla="*/ 0 h 33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95102" h="3355652">
                  <a:moveTo>
                    <a:pt x="0" y="0"/>
                  </a:moveTo>
                  <a:lnTo>
                    <a:pt x="396686" y="72751"/>
                  </a:lnTo>
                  <a:cubicBezTo>
                    <a:pt x="2127968" y="455339"/>
                    <a:pt x="3564816" y="1621726"/>
                    <a:pt x="4315998" y="3180682"/>
                  </a:cubicBezTo>
                  <a:lnTo>
                    <a:pt x="4395102" y="3355652"/>
                  </a:lnTo>
                  <a:lnTo>
                    <a:pt x="4360726" y="3340111"/>
                  </a:lnTo>
                  <a:cubicBezTo>
                    <a:pt x="3675838" y="3050428"/>
                    <a:pt x="2922846" y="2890240"/>
                    <a:pt x="2132438" y="2890240"/>
                  </a:cubicBezTo>
                  <a:cubicBezTo>
                    <a:pt x="2033638" y="2890240"/>
                    <a:pt x="1935420" y="2892743"/>
                    <a:pt x="1837848" y="2897689"/>
                  </a:cubicBezTo>
                  <a:lnTo>
                    <a:pt x="1648344" y="2912099"/>
                  </a:lnTo>
                  <a:lnTo>
                    <a:pt x="1603940" y="2719705"/>
                  </a:lnTo>
                  <a:cubicBezTo>
                    <a:pt x="1345102" y="1713686"/>
                    <a:pt x="819678" y="814671"/>
                    <a:pt x="107458" y="1024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900">
                <a:solidFill>
                  <a:srgbClr val="FFFFFF"/>
                </a:solidFill>
                <a:latin typeface="Roboto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CCEA782-6233-8543-8FA9-3994BC25FE70}"/>
              </a:ext>
            </a:extLst>
          </p:cNvPr>
          <p:cNvSpPr txBox="1"/>
          <p:nvPr/>
        </p:nvSpPr>
        <p:spPr>
          <a:xfrm>
            <a:off x="4660491" y="2664840"/>
            <a:ext cx="1093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Wh</a:t>
            </a:r>
            <a:r>
              <a:rPr lang="en-US" altLang="zh-TW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o</a:t>
            </a:r>
            <a:endParaRPr lang="en-US" sz="20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EDA3D2E-3A3A-F446-957F-FD1D530A297E}"/>
              </a:ext>
            </a:extLst>
          </p:cNvPr>
          <p:cNvSpPr txBox="1"/>
          <p:nvPr/>
        </p:nvSpPr>
        <p:spPr>
          <a:xfrm>
            <a:off x="6493099" y="2664657"/>
            <a:ext cx="1093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Wh</a:t>
            </a:r>
            <a:r>
              <a:rPr lang="en-US" altLang="zh-TW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y</a:t>
            </a:r>
            <a:endParaRPr lang="en-US" sz="20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06B303C8-C476-F040-90A4-1A6B8296F22C}"/>
              </a:ext>
            </a:extLst>
          </p:cNvPr>
          <p:cNvSpPr txBox="1"/>
          <p:nvPr/>
        </p:nvSpPr>
        <p:spPr>
          <a:xfrm>
            <a:off x="4654939" y="4624853"/>
            <a:ext cx="1093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Wh</a:t>
            </a:r>
            <a:r>
              <a:rPr lang="en-US" altLang="zh-TW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at</a:t>
            </a:r>
            <a:endParaRPr lang="en-US" sz="20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D322989-C96F-094B-AB74-5D36E39F0C71}"/>
              </a:ext>
            </a:extLst>
          </p:cNvPr>
          <p:cNvSpPr txBox="1"/>
          <p:nvPr/>
        </p:nvSpPr>
        <p:spPr>
          <a:xfrm>
            <a:off x="6517877" y="4631652"/>
            <a:ext cx="1093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Ho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ABAF61-437F-7147-BC75-005212F9FDA5}"/>
              </a:ext>
            </a:extLst>
          </p:cNvPr>
          <p:cNvSpPr txBox="1"/>
          <p:nvPr/>
        </p:nvSpPr>
        <p:spPr>
          <a:xfrm>
            <a:off x="1206271" y="2602381"/>
            <a:ext cx="22606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TW" sz="2800" b="1" dirty="0">
                <a:solidFill>
                  <a:srgbClr val="E88604"/>
                </a:solidFill>
                <a:latin typeface="Century Gothic" panose="020B0502020202020204" pitchFamily="34" charset="0"/>
              </a:rPr>
              <a:t>ASTURIAS</a:t>
            </a:r>
            <a:endParaRPr lang="en-US" sz="2800" b="1" dirty="0">
              <a:solidFill>
                <a:srgbClr val="E88604"/>
              </a:solidFill>
              <a:latin typeface="Century Gothic" panose="020B0502020202020204" pitchFamily="34" charset="0"/>
            </a:endParaRPr>
          </a:p>
          <a:p>
            <a:pPr defTabSz="1219170"/>
            <a:endParaRPr lang="en-US" sz="1200" b="1" dirty="0">
              <a:solidFill>
                <a:srgbClr val="D6CEB5"/>
              </a:solidFill>
              <a:latin typeface="Century Gothic" panose="020B0502020202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F58675A9-956D-9D42-BB4B-D651AD6874A7}"/>
              </a:ext>
            </a:extLst>
          </p:cNvPr>
          <p:cNvSpPr txBox="1"/>
          <p:nvPr/>
        </p:nvSpPr>
        <p:spPr>
          <a:xfrm>
            <a:off x="9244940" y="2595094"/>
            <a:ext cx="2273865" cy="820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TW" sz="1400" b="1" dirty="0">
                <a:solidFill>
                  <a:srgbClr val="AC680E"/>
                </a:solidFill>
                <a:latin typeface="Century Gothic" panose="020B0502020202020204" pitchFamily="34" charset="0"/>
              </a:rPr>
              <a:t>Reason</a:t>
            </a:r>
            <a:r>
              <a:rPr lang="zh-TW" altLang="en-US" sz="1400" b="1" dirty="0">
                <a:solidFill>
                  <a:srgbClr val="AC680E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400" b="1" dirty="0">
                <a:solidFill>
                  <a:srgbClr val="AC680E"/>
                </a:solidFill>
                <a:latin typeface="Century Gothic" panose="020B0502020202020204" pitchFamily="34" charset="0"/>
              </a:rPr>
              <a:t>For</a:t>
            </a:r>
            <a:r>
              <a:rPr lang="zh-TW" altLang="en-US" sz="1400" b="1" dirty="0">
                <a:solidFill>
                  <a:srgbClr val="AC680E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400" b="1" dirty="0">
                <a:solidFill>
                  <a:srgbClr val="AC680E"/>
                </a:solidFill>
                <a:latin typeface="Century Gothic" panose="020B0502020202020204" pitchFamily="34" charset="0"/>
              </a:rPr>
              <a:t>Targeting</a:t>
            </a:r>
            <a:r>
              <a:rPr lang="zh-TW" altLang="en-US" sz="1400" b="1" dirty="0">
                <a:solidFill>
                  <a:srgbClr val="AC680E"/>
                </a:solidFill>
                <a:latin typeface="Century Gothic" panose="020B0502020202020204" pitchFamily="34" charset="0"/>
              </a:rPr>
              <a:t> </a:t>
            </a:r>
            <a:endParaRPr lang="en-US" sz="1400" b="1" dirty="0">
              <a:solidFill>
                <a:srgbClr val="AC680E"/>
              </a:solidFill>
              <a:latin typeface="Century Gothic" panose="020B0502020202020204" pitchFamily="34" charset="0"/>
            </a:endParaRPr>
          </a:p>
          <a:p>
            <a:pPr defTabSz="1219170"/>
            <a:endParaRPr lang="en-US" sz="1200" b="1" dirty="0">
              <a:solidFill>
                <a:srgbClr val="ACD0C0"/>
              </a:solidFill>
              <a:latin typeface="Century Gothic" panose="020B0502020202020204" pitchFamily="34" charset="0"/>
            </a:endParaRP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Similar</a:t>
            </a:r>
            <a:r>
              <a:rPr lang="zh-TW" alt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region</a:t>
            </a:r>
            <a:r>
              <a:rPr lang="zh-TW" alt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to</a:t>
            </a:r>
            <a:r>
              <a:rPr lang="zh-TW" alt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Cataluña</a:t>
            </a: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Losing</a:t>
            </a:r>
            <a:r>
              <a:rPr lang="zh-TW" alt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the</a:t>
            </a:r>
            <a:r>
              <a:rPr lang="zh-TW" alt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market</a:t>
            </a:r>
            <a:r>
              <a:rPr lang="zh-TW" alt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share</a:t>
            </a:r>
            <a:endParaRPr lang="en-US" sz="1067" dirty="0">
              <a:solidFill>
                <a:srgbClr val="262626"/>
              </a:solidFill>
              <a:latin typeface="Century Gothic" panose="020B0502020202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4F544414-58C2-2F4A-9982-6E3B1F233B0B}"/>
              </a:ext>
            </a:extLst>
          </p:cNvPr>
          <p:cNvSpPr txBox="1"/>
          <p:nvPr/>
        </p:nvSpPr>
        <p:spPr>
          <a:xfrm>
            <a:off x="1226530" y="4517410"/>
            <a:ext cx="2352343" cy="1867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altLang="zh-TW" b="1" dirty="0">
                <a:solidFill>
                  <a:srgbClr val="949494"/>
                </a:solidFill>
                <a:latin typeface="Century Gothic" panose="020B0502020202020204" pitchFamily="34" charset="0"/>
              </a:rPr>
              <a:t>Branding</a:t>
            </a:r>
            <a:r>
              <a:rPr lang="zh-TW" altLang="en-US" b="1" dirty="0">
                <a:solidFill>
                  <a:srgbClr val="949494"/>
                </a:solidFill>
                <a:latin typeface="Century Gothic" panose="020B0502020202020204" pitchFamily="34" charset="0"/>
              </a:rPr>
              <a:t> </a:t>
            </a:r>
            <a:endParaRPr lang="en-US" b="1" dirty="0">
              <a:solidFill>
                <a:srgbClr val="949494"/>
              </a:solidFill>
              <a:latin typeface="Century Gothic" panose="020B0502020202020204" pitchFamily="34" charset="0"/>
            </a:endParaRPr>
          </a:p>
          <a:p>
            <a:pPr defTabSz="1219170"/>
            <a:endParaRPr lang="en-US" sz="1200" b="1" dirty="0">
              <a:solidFill>
                <a:srgbClr val="949494"/>
              </a:solidFill>
              <a:latin typeface="Century Gothic" panose="020B0502020202020204" pitchFamily="34" charset="0"/>
            </a:endParaRP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Value prop and key message for customers</a:t>
            </a: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 Value prop and key message for channels</a:t>
            </a: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Value prop and key message for other audiences</a:t>
            </a: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endParaRPr lang="en-US" sz="1067" dirty="0">
              <a:solidFill>
                <a:srgbClr val="262626"/>
              </a:solidFill>
              <a:latin typeface="Century Gothic" panose="020B0502020202020204" pitchFamily="34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7A49E10-4180-F346-A599-78C20D520373}"/>
              </a:ext>
            </a:extLst>
          </p:cNvPr>
          <p:cNvSpPr txBox="1"/>
          <p:nvPr/>
        </p:nvSpPr>
        <p:spPr>
          <a:xfrm>
            <a:off x="9305784" y="4517410"/>
            <a:ext cx="2213021" cy="1446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sz="1200" b="1" dirty="0">
                <a:solidFill>
                  <a:srgbClr val="B6AF9D"/>
                </a:solidFill>
                <a:latin typeface="Century Gothic" panose="020B0502020202020204" pitchFamily="34" charset="0"/>
              </a:rPr>
              <a:t>How should it be done</a:t>
            </a:r>
          </a:p>
          <a:p>
            <a:pPr defTabSz="1219170"/>
            <a:endParaRPr lang="en-US" sz="1200" b="1" dirty="0">
              <a:solidFill>
                <a:srgbClr val="B6AF9D"/>
              </a:solidFill>
              <a:latin typeface="Century Gothic" panose="020B0502020202020204" pitchFamily="34" charset="0"/>
            </a:endParaRP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Tools for customers</a:t>
            </a: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Tools for internal audiences</a:t>
            </a:r>
          </a:p>
          <a:p>
            <a:pPr marL="280409" indent="-280409" defTabSz="1219170"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262626"/>
                </a:solidFill>
                <a:latin typeface="Century Gothic" panose="020B0502020202020204" pitchFamily="34" charset="0"/>
              </a:rPr>
              <a:t>External activities</a:t>
            </a: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endParaRPr lang="en-US" sz="1067" dirty="0">
              <a:solidFill>
                <a:srgbClr val="262626"/>
              </a:solidFill>
              <a:latin typeface="Century Gothic" panose="020B0502020202020204" pitchFamily="34" charset="0"/>
            </a:endParaRP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endParaRPr lang="en-US" sz="1067" dirty="0">
              <a:solidFill>
                <a:srgbClr val="262626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625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repeatCount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3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014 0.14198 L -1.11111E-6 -4.93827E-6 " pathEditMode="relative" rAng="0" ptsTypes="AA">
                                      <p:cBhvr>
                                        <p:cTn id="22" dur="3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07" y="-709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118 0.13796 L 0.00017 -0.00093 " pathEditMode="relative" rAng="0" ptsTypes="AA">
                                      <p:cBhvr>
                                        <p:cTn id="24" dur="3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59" y="-69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6979 -0.13889 L 1.47451E-17 -1.85185E-6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98" y="713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448 -0.13981 L 0.00017 0.0034 " pathEditMode="relative" rAng="0" ptsTypes="AA">
                                      <p:cBhvr>
                                        <p:cTn id="28" dur="3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33" y="71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6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5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4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42" grpId="0"/>
      <p:bldP spid="143" grpId="0"/>
      <p:bldP spid="14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6">
            <a:extLst>
              <a:ext uri="{FF2B5EF4-FFF2-40B4-BE49-F238E27FC236}">
                <a16:creationId xmlns:a16="http://schemas.microsoft.com/office/drawing/2014/main" id="{A0C18D94-6A99-1347-9159-3A655A610D31}"/>
              </a:ext>
            </a:extLst>
          </p:cNvPr>
          <p:cNvSpPr/>
          <p:nvPr/>
        </p:nvSpPr>
        <p:spPr>
          <a:xfrm flipH="1">
            <a:off x="1588" y="1585384"/>
            <a:ext cx="12188825" cy="4229101"/>
          </a:xfrm>
          <a:prstGeom prst="rect">
            <a:avLst/>
          </a:prstGeom>
          <a:blipFill dpi="0" rotWithShape="1">
            <a:blip r:embed="rId3">
              <a:alphaModFix amt="75000"/>
            </a:blip>
            <a:srcRect/>
            <a:stretch>
              <a:fillRect t="-18071" b="-18071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23" name="Rechteck 37">
            <a:extLst>
              <a:ext uri="{FF2B5EF4-FFF2-40B4-BE49-F238E27FC236}">
                <a16:creationId xmlns:a16="http://schemas.microsoft.com/office/drawing/2014/main" id="{49983F2B-AB48-F74B-AE79-7D5131A71E45}"/>
              </a:ext>
            </a:extLst>
          </p:cNvPr>
          <p:cNvSpPr/>
          <p:nvPr/>
        </p:nvSpPr>
        <p:spPr>
          <a:xfrm flipH="1">
            <a:off x="960894" y="1357614"/>
            <a:ext cx="10228882" cy="4912410"/>
          </a:xfrm>
          <a:prstGeom prst="rect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96E4BBB-C339-40A7-93ED-03E89F3E9C92}"/>
              </a:ext>
            </a:extLst>
          </p:cNvPr>
          <p:cNvSpPr/>
          <p:nvPr/>
        </p:nvSpPr>
        <p:spPr>
          <a:xfrm>
            <a:off x="1703762" y="3704096"/>
            <a:ext cx="8757587" cy="2565928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51000"/>
                </a:schemeClr>
              </a:gs>
              <a:gs pos="100000">
                <a:schemeClr val="tx2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5" name="Picture 14" descr="A sign above a store&#10;&#10;Description automatically generated">
            <a:extLst>
              <a:ext uri="{FF2B5EF4-FFF2-40B4-BE49-F238E27FC236}">
                <a16:creationId xmlns:a16="http://schemas.microsoft.com/office/drawing/2014/main" id="{8851E3E0-378D-F44D-9206-57A844C7E08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554" t="35306" r="5929" b="22003"/>
          <a:stretch/>
        </p:blipFill>
        <p:spPr>
          <a:xfrm>
            <a:off x="1655188" y="1629000"/>
            <a:ext cx="2736000" cy="1800000"/>
          </a:xfrm>
          <a:prstGeom prst="rect">
            <a:avLst/>
          </a:prstGeom>
        </p:spPr>
      </p:pic>
      <p:pic>
        <p:nvPicPr>
          <p:cNvPr id="17" name="Picture 16" descr="A picture containing indoor, rain, nature, dirty&#10;&#10;Description automatically generated">
            <a:extLst>
              <a:ext uri="{FF2B5EF4-FFF2-40B4-BE49-F238E27FC236}">
                <a16:creationId xmlns:a16="http://schemas.microsoft.com/office/drawing/2014/main" id="{40340451-CBA1-EB47-AAA3-5004CC2E63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3855" y="1605155"/>
            <a:ext cx="2736000" cy="1823845"/>
          </a:xfrm>
          <a:prstGeom prst="rect">
            <a:avLst/>
          </a:prstGeom>
        </p:spPr>
      </p:pic>
      <p:pic>
        <p:nvPicPr>
          <p:cNvPr id="21" name="Picture 20" descr="A glass of beer on a table&#10;&#10;Description automatically generated">
            <a:extLst>
              <a:ext uri="{FF2B5EF4-FFF2-40B4-BE49-F238E27FC236}">
                <a16:creationId xmlns:a16="http://schemas.microsoft.com/office/drawing/2014/main" id="{233C7745-C92E-A64B-A4F5-7AE5C4051A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2522" y="1605000"/>
            <a:ext cx="2736000" cy="18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203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" dur="5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15E9FC-3F35-1F42-9475-A35ED83B14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Slide" r:id="rId59" imgW="7772400" imgH="10058400" progId="TCLayout.ActiveDocument.1">
                  <p:embed/>
                </p:oleObj>
              </mc:Choice>
              <mc:Fallback>
                <p:oleObj name="think-cell Slide" r:id="rId59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15E9FC-3F35-1F42-9475-A35ED83B14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CE68BF-5609-594A-96D8-4EB47A9FE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25D86D8-BB8F-4A48-A826-A11F306D173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1136313" y="3309938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5B859B9-9F2B-1F4F-B86C-032D5D3305B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547100" y="2070100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40C8895-AFBB-0B4F-8F97-AF62FF0B3BF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274300" y="2459038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5A79EA7-5F2E-A949-A4B3-61A8D11A78E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095875" y="2578100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39C3FC4-8C1A-1F4B-A3FE-9B052A63A60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370263" y="2544763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20F8EA1-34EA-AC4D-BAB3-FFD806E646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506663" y="2389188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09371BA-D8C1-624C-AE4D-96CCAD9A3E3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643063" y="4505325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4061C53-6B17-C04E-8CFC-69D2E698523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959475" y="2378075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2C49432-215A-C04C-96BC-37FFF80ED10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81050" y="3743325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C78B69D-E897-EC4B-B5DF-ECB0A1739FA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9410700" y="2479675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1AFF4DD-D561-304D-AFA2-8CDB1D017C8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821488" y="1914525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FD27B63-D5BC-B242-A9E8-79CB03643C6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232275" y="2463800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C7288D1-C8E9-2F43-8EAF-4952A5FFB49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685088" y="2143125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6" name="Chart 155">
            <a:extLst>
              <a:ext uri="{FF2B5EF4-FFF2-40B4-BE49-F238E27FC236}">
                <a16:creationId xmlns:a16="http://schemas.microsoft.com/office/drawing/2014/main" id="{D298BD79-68F6-1042-9BCE-7CE8208A2B7C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26988" y="1831975"/>
          <a:ext cx="1224756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 useBgFill="1">
        <p:nvSpPr>
          <p:cNvPr id="10" name="Freeform 9">
            <a:extLst>
              <a:ext uri="{FF2B5EF4-FFF2-40B4-BE49-F238E27FC236}">
                <a16:creationId xmlns:a16="http://schemas.microsoft.com/office/drawing/2014/main" id="{E27F4D4B-6009-DD48-82AD-AB36609C20A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46063" y="4530725"/>
            <a:ext cx="588963" cy="215901"/>
          </a:xfrm>
          <a:custGeom>
            <a:avLst/>
            <a:gdLst/>
            <a:ahLst/>
            <a:cxnLst/>
            <a:rect l="0" t="0" r="0" b="0"/>
            <a:pathLst>
              <a:path w="588963" h="215901">
                <a:moveTo>
                  <a:pt x="0" y="158750"/>
                </a:moveTo>
                <a:lnTo>
                  <a:pt x="588962" y="0"/>
                </a:lnTo>
                <a:lnTo>
                  <a:pt x="588962" y="57150"/>
                </a:lnTo>
                <a:lnTo>
                  <a:pt x="0" y="2159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 12">
            <a:extLst>
              <a:ext uri="{FF2B5EF4-FFF2-40B4-BE49-F238E27FC236}">
                <a16:creationId xmlns:a16="http://schemas.microsoft.com/office/drawing/2014/main" id="{4A9BF564-3D1E-EF4B-AA02-BEED3CEE815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1464925" y="4530725"/>
            <a:ext cx="588964" cy="215901"/>
          </a:xfrm>
          <a:custGeom>
            <a:avLst/>
            <a:gdLst/>
            <a:ahLst/>
            <a:cxnLst/>
            <a:rect l="0" t="0" r="0" b="0"/>
            <a:pathLst>
              <a:path w="588964" h="215901">
                <a:moveTo>
                  <a:pt x="0" y="158750"/>
                </a:moveTo>
                <a:lnTo>
                  <a:pt x="588963" y="0"/>
                </a:lnTo>
                <a:lnTo>
                  <a:pt x="588963" y="57150"/>
                </a:lnTo>
                <a:lnTo>
                  <a:pt x="0" y="2159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66FF4A5B-58D8-844A-8369-E12071F7C2A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46063" y="4530725"/>
            <a:ext cx="588963" cy="158751"/>
          </a:xfrm>
          <a:custGeom>
            <a:avLst/>
            <a:gdLst/>
            <a:ahLst/>
            <a:cxnLst/>
            <a:rect l="0" t="0" r="0" b="0"/>
            <a:pathLst>
              <a:path w="588963" h="158751">
                <a:moveTo>
                  <a:pt x="0" y="158750"/>
                </a:moveTo>
                <a:lnTo>
                  <a:pt x="5889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DF9B3D2-D4CE-B64D-9A32-1BD92344DB6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1464925" y="4587875"/>
            <a:ext cx="588964" cy="158751"/>
          </a:xfrm>
          <a:custGeom>
            <a:avLst/>
            <a:gdLst/>
            <a:ahLst/>
            <a:cxnLst/>
            <a:rect l="0" t="0" r="0" b="0"/>
            <a:pathLst>
              <a:path w="588964" h="158751">
                <a:moveTo>
                  <a:pt x="0" y="158750"/>
                </a:moveTo>
                <a:lnTo>
                  <a:pt x="5889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C9138A3-0315-084A-990A-2AD34806116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46063" y="4587875"/>
            <a:ext cx="588963" cy="158751"/>
          </a:xfrm>
          <a:custGeom>
            <a:avLst/>
            <a:gdLst/>
            <a:ahLst/>
            <a:cxnLst/>
            <a:rect l="0" t="0" r="0" b="0"/>
            <a:pathLst>
              <a:path w="588963" h="158751">
                <a:moveTo>
                  <a:pt x="0" y="158750"/>
                </a:moveTo>
                <a:lnTo>
                  <a:pt x="5889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C456A236-C492-8B45-AD40-9471C99D7FA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1464925" y="4530725"/>
            <a:ext cx="588964" cy="158751"/>
          </a:xfrm>
          <a:custGeom>
            <a:avLst/>
            <a:gdLst/>
            <a:ahLst/>
            <a:cxnLst/>
            <a:rect l="0" t="0" r="0" b="0"/>
            <a:pathLst>
              <a:path w="588964" h="158751">
                <a:moveTo>
                  <a:pt x="0" y="158750"/>
                </a:moveTo>
                <a:lnTo>
                  <a:pt x="5889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B60D80C2-1777-D44C-8486-3C45579F6FF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1758613" y="1838325"/>
            <a:ext cx="0" cy="1216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0F90B660-87B7-1D47-8E96-80B6D05CD96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39750" y="1838325"/>
            <a:ext cx="11218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FCFEB295-CC0A-0047-A670-AE19564031D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539750" y="1838325"/>
            <a:ext cx="0" cy="1649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09FD44F-0FDF-AB45-9248-2476960782A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4854575" y="2520950"/>
            <a:ext cx="0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0555E55-B04E-5D4C-B134-F1CC040B1DC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033000" y="24336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7686F05-16D5-9046-9382-1749B30251B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3128963" y="246856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9BA7448C-CEC8-4E40-AABB-6852DC48C7D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1103313" y="4029075"/>
            <a:ext cx="601663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160C280-BFBD-41D4-BB88-67276DE2447A}" type="datetime'''''''''''''''-5''''''''''5''''.1''''2''''''''''''''''''8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55.12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AAD2A3D-9D48-F74F-8689-0734AAA8C5F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9688" y="3525838"/>
            <a:ext cx="1000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E7C8B57-0C14-432A-9436-1847BBB55DF8}" type="datetime'''''''''''''''''''''11''''70''''7''''''''''9''''81,29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707981,2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FCE730B6-5C37-7E44-AABD-C59ABB19924E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763963" y="2408238"/>
            <a:ext cx="457200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3BDABCB-FABC-48F6-A78B-9F69988DCA98}" type="datetime'''''5''''''.''''''''''''''''''''''''''''8''''''''86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.886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11371C7-7653-DF4E-8254-C1571E0F06C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4598989" y="2603500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26E68F0-ED5D-43F6-ACC9-774251432728}" type="datetime'''''''''''''''-''''''''8''''''''''''''''''.''2''''''''4''8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8.24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431B0570-CE31-3441-BD60-7E06BD4A39CE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5445125" y="2382838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5D2F2AD-9413-4F1F-869A-C6B1B48D645F}" type="datetime'''1''''''4''''''''''''''''''.''3''''90''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.390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6" name="Text Placeholder 2">
            <a:extLst>
              <a:ext uri="{FF2B5EF4-FFF2-40B4-BE49-F238E27FC236}">
                <a16:creationId xmlns:a16="http://schemas.microsoft.com/office/drawing/2014/main" id="{9F8FDD11-2C30-4E4F-A77B-DB446D49392B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4486275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7DD4CF8-23D8-42EA-B60E-067728E04DF6}" type="datetime'''''''''7''''''5''''''''''''''0''''M''L'' ''B''''1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3646265E-6F0F-144F-9A51-0F69BE9BD01F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7143750" y="1933575"/>
            <a:ext cx="601663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67CC7F-6982-4A88-BAB6-7974DE0AACCF}" type="datetime'''''''''-1''''''''6.''4''''''''''''''''8''''''''7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6.48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5561B13C-A630-9F47-8FE6-E85AAD82375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8078788" y="2011363"/>
            <a:ext cx="457200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CAFBBF2-960D-4CD1-96F2-51A3E94F3DE8}" type="datetime'''''''''''5''''''''.''''''2''''''5''''0''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.250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70" name="Text Placeholder 2">
            <a:extLst>
              <a:ext uri="{FF2B5EF4-FFF2-40B4-BE49-F238E27FC236}">
                <a16:creationId xmlns:a16="http://schemas.microsoft.com/office/drawing/2014/main" id="{B05B4091-0BE8-6E42-86F6-7C988B7B4BD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924800" y="4830763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405D9B-BCEC-4E2E-B7BC-F198D933B620}" type="datetime'''''25''''0''''''''''''''''ML'' ''''''''O''B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73" name="Text Placeholder 2">
            <a:extLst>
              <a:ext uri="{FF2B5EF4-FFF2-40B4-BE49-F238E27FC236}">
                <a16:creationId xmlns:a16="http://schemas.microsoft.com/office/drawing/2014/main" id="{56EF24CB-E444-C247-BB44-1EB14B8FC174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10469563" y="4830763"/>
            <a:ext cx="855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E56FAA-AF2D-40D7-8DCE-40FCA3D64863}" type="datetime'''1''''''''0''''''''0''0M''''''''L ''''O''''''B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B2096CBC-62C9-7945-8BD2-7AD80DA3E39A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869363" y="2179638"/>
            <a:ext cx="601663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12C3FF-84F7-49A5-9334-6EF1DD72F759}" type="datetime'''''-29''''''.''''''6''''''''''1''7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9.61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9" name="Text Placeholder 2">
            <a:extLst>
              <a:ext uri="{FF2B5EF4-FFF2-40B4-BE49-F238E27FC236}">
                <a16:creationId xmlns:a16="http://schemas.microsoft.com/office/drawing/2014/main" id="{BAE72CCC-9F80-8444-9AB2-040DEC0D3631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7029450" y="4830763"/>
            <a:ext cx="828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08F031-5B3E-4B0D-8A92-3D9422254661}" type="datetime'1''0''''''''''''''''''''''0''''''''''''''''''''0ML'' B2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0ML B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8" name="Text Placeholder 2">
            <a:extLst>
              <a:ext uri="{FF2B5EF4-FFF2-40B4-BE49-F238E27FC236}">
                <a16:creationId xmlns:a16="http://schemas.microsoft.com/office/drawing/2014/main" id="{01E57E43-C9C8-8242-A46C-B2F251B825A2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6213475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52BF6F-D5B2-4733-92C6-0D79DE50AD19}" type="datetime'3''''''''''''''3''0''M''''''''''L'' ''''''''B''''''''2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 B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7" name="Text Placeholder 2">
            <a:extLst>
              <a:ext uri="{FF2B5EF4-FFF2-40B4-BE49-F238E27FC236}">
                <a16:creationId xmlns:a16="http://schemas.microsoft.com/office/drawing/2014/main" id="{AE6AC403-4A2E-3249-ABC7-BE7CCE05C3F0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5349875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F91299-B158-4F9B-9492-635D949164C0}" type="datetime'25''''''''''''0''M''''''L'''' ''''B''''''''''2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 B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A5C7B3A1-127A-BB46-860B-918017BFBD11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9804399" y="2241550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FC66D42-2FE4-4E02-9739-9B1C749B0ED6}" type="datetime'''''''''1''''''''.''''4''''''''''''''''''4''''''7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44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72" name="Text Placeholder 2">
            <a:extLst>
              <a:ext uri="{FF2B5EF4-FFF2-40B4-BE49-F238E27FC236}">
                <a16:creationId xmlns:a16="http://schemas.microsoft.com/office/drawing/2014/main" id="{A4D3D39F-7500-364A-9FA5-60971F2E7F0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9650413" y="4830763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114F6F-6E27-410F-BE14-417854B423D4}" type="datetime'''''''''5''''''''''0''''0''''''''M''''L'' ''''O''''''B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215D79F4-524D-614D-9D8F-5F14B0931262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6308725" y="2051050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E152F50-ED7E-441D-970E-BCE89D8FC338}" type="datetime'''''''''''''3''''3''''.''''''5''''''''5''''''''''''''''''0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.550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5" name="Text Placeholder 2">
            <a:extLst>
              <a:ext uri="{FF2B5EF4-FFF2-40B4-BE49-F238E27FC236}">
                <a16:creationId xmlns:a16="http://schemas.microsoft.com/office/drawing/2014/main" id="{39D22131-4BA5-284B-A62C-8799FB69CAB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3624263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1D095B-4D29-4121-A421-A51057D58887}" type="datetime'''''''''''6''''''6''''''0''''M''''''L ''''''''B1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6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0469782-A77E-774E-A349-D6BE42E3168D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946276" y="3351213"/>
            <a:ext cx="638175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A81A5A5-7670-4B47-B4AC-41FCED6F3F81}" type="datetime'1''''''''52''''''''.9''''''''''5''''''''''''''''''''''''2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2.95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4" name="Text Placeholder 2">
            <a:extLst>
              <a:ext uri="{FF2B5EF4-FFF2-40B4-BE49-F238E27FC236}">
                <a16:creationId xmlns:a16="http://schemas.microsoft.com/office/drawing/2014/main" id="{09C49A99-3A33-9847-8340-DC953286FC47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2760663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1BAA3DF-033D-461D-9B60-D279841FB8E3}" type="datetime'''5''''''0''''''''''''0''''M''L ''''''''''B''''''1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EB5D0F26-5563-D846-8E3D-766F4891834C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2828925" y="2570163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CA8504-7AAE-401A-A4AA-DEA94289980D}" type="datetime'''''''''''-1''1.''''''2''''''4''''''''''''''''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1.24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71" name="Text Placeholder 2">
            <a:extLst>
              <a:ext uri="{FF2B5EF4-FFF2-40B4-BE49-F238E27FC236}">
                <a16:creationId xmlns:a16="http://schemas.microsoft.com/office/drawing/2014/main" id="{B9021B8C-C4F3-E648-B636-B840190CBB53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8786813" y="4830763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B8EA784-DDC5-4873-9CDA-DF8B59863D20}" type="datetime'''''''''3''''''''''''''''''''3''''''''''''''0''''ML O''''B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420" name="Text Placeholder 2">
            <a:extLst>
              <a:ext uri="{FF2B5EF4-FFF2-40B4-BE49-F238E27FC236}">
                <a16:creationId xmlns:a16="http://schemas.microsoft.com/office/drawing/2014/main" id="{65E32999-0D47-D640-9477-894BFED1C1D9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352425" y="48307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49428D-2C7F-486A-B4C6-0427BC6BC73B}" type="datetime'''''''''''''''''''''''''''''''''20''''''''''''''1''''''''7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3708EE74-CC79-A64C-AD75-8F906A8252BD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11258550" y="3092450"/>
            <a:ext cx="1000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DE9CFB-B272-4F45-AAA9-C4C6BC5DE73D}" type="datetime'''''''''''1173''9''''''2''''''''''''''''3''7'''',''49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739237,4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3" name="Text Placeholder 2">
            <a:extLst>
              <a:ext uri="{FF2B5EF4-FFF2-40B4-BE49-F238E27FC236}">
                <a16:creationId xmlns:a16="http://schemas.microsoft.com/office/drawing/2014/main" id="{6D9B5FB0-8784-5D4D-AC00-5BD2C55F3A89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1897063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A84CAC-F97C-46B9-957E-4323D06ED527}" type="datetime'3''''''''30''''''''''''''''''''''''''''''ML ''B''''1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05D06A35-D3B7-6E47-A3A1-8D84F73B67AA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0596564" y="2789238"/>
            <a:ext cx="601663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A7571E-9B0E-4E2B-A6E2-A2E1115B8840}" type="datetime'''''''''''-''''''''61''.''''''4''9''''''8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61.49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62" name="Text Placeholder 2">
            <a:extLst>
              <a:ext uri="{FF2B5EF4-FFF2-40B4-BE49-F238E27FC236}">
                <a16:creationId xmlns:a16="http://schemas.microsoft.com/office/drawing/2014/main" id="{A33469C1-013F-2842-B4F4-F8805BA35D4B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035050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FFD99F-17AE-4DE9-941C-E8C0A84D8185}" type="datetime'2''''''''''50M''L'''''''''' ''''''''''B''''''''''''''''''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961F74D5-E187-AC43-995B-EA75B2D4649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5992813" y="1701800"/>
            <a:ext cx="312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3C78BF0-AD98-437E-8D7B-E843D01F0541}" type="datetime'''''''''''''0''''%''''''''''''''''''''''''''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443" name="TextBox 1442">
            <a:extLst>
              <a:ext uri="{FF2B5EF4-FFF2-40B4-BE49-F238E27FC236}">
                <a16:creationId xmlns:a16="http://schemas.microsoft.com/office/drawing/2014/main" id="{25A7E296-E19A-4E4D-A4D4-D2C4D24BA17D}"/>
              </a:ext>
            </a:extLst>
          </p:cNvPr>
          <p:cNvSpPr txBox="1"/>
          <p:nvPr/>
        </p:nvSpPr>
        <p:spPr>
          <a:xfrm>
            <a:off x="352425" y="463826"/>
            <a:ext cx="3172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 – Volume 2017</a:t>
            </a:r>
          </a:p>
        </p:txBody>
      </p:sp>
    </p:spTree>
    <p:extLst>
      <p:ext uri="{BB962C8B-B14F-4D97-AF65-F5344CB8AC3E}">
        <p14:creationId xmlns:p14="http://schemas.microsoft.com/office/powerpoint/2010/main" val="23357728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15E9FC-3F35-1F42-9475-A35ED83B14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64" imgW="7772400" imgH="10058400" progId="TCLayout.ActiveDocument.1">
                  <p:embed/>
                </p:oleObj>
              </mc:Choice>
              <mc:Fallback>
                <p:oleObj name="think-cell Slide" r:id="rId6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15E9FC-3F35-1F42-9475-A35ED83B14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CE68BF-5609-594A-96D8-4EB47A9FE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68CE3F5-C68E-B946-B098-3D0BC73251C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81050" y="4505325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548FA8F-53EF-6E41-9758-F66D1DD884F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32275" y="2632075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DF8CF6-EBC9-FF41-AFFE-B2388B144CE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821488" y="2576513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F72EF1E-ACCD-EA46-A7A2-24D9EE241EA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506663" y="2586038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F17635B-9A78-8A4E-BF8B-703F6D452C6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643063" y="4084638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AC12EAE-0897-AE47-929A-985F2D2D403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410700" y="1914525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3305674-D3AA-3F4D-881E-4C002E80986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1136313" y="1943100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48F8FBA-3FF5-E54F-895D-6C6EAB33CFF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274300" y="1917700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A2EA615-D4F4-B541-A5D8-DB3C0031FE6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547100" y="2254250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84A8D27-58CC-1D4F-86FF-23F5576EA4A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685088" y="2495550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DCC7DBA-21A0-1B43-BEB9-54B2F477DA0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959475" y="2622550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A2B9156-A523-B44F-A4B8-FF041541E26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5095875" y="2646363"/>
            <a:ext cx="3825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9BB615D-7694-FE45-A940-37ECEEFB485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3370263" y="2589213"/>
            <a:ext cx="38258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C98C5288-92A6-D549-93CC-2FD635AE67F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793288" y="1914525"/>
            <a:ext cx="481012" cy="317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28B0751-1538-DA4B-B822-7A4EA9824EA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889250" y="2586038"/>
            <a:ext cx="481013" cy="317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461E7C69-F07D-5240-85F9-804106C68075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26988" y="1658938"/>
          <a:ext cx="12247562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 useBgFill="1">
        <p:nvSpPr>
          <p:cNvPr id="53" name="Freeform 52">
            <a:extLst>
              <a:ext uri="{FF2B5EF4-FFF2-40B4-BE49-F238E27FC236}">
                <a16:creationId xmlns:a16="http://schemas.microsoft.com/office/drawing/2014/main" id="{A9D6E078-761B-5A4E-ABEE-66DBC0432C86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464925" y="4530725"/>
            <a:ext cx="588964" cy="215901"/>
          </a:xfrm>
          <a:custGeom>
            <a:avLst/>
            <a:gdLst/>
            <a:ahLst/>
            <a:cxnLst/>
            <a:rect l="0" t="0" r="0" b="0"/>
            <a:pathLst>
              <a:path w="588964" h="215901">
                <a:moveTo>
                  <a:pt x="0" y="158750"/>
                </a:moveTo>
                <a:lnTo>
                  <a:pt x="588963" y="0"/>
                </a:lnTo>
                <a:lnTo>
                  <a:pt x="588963" y="57150"/>
                </a:lnTo>
                <a:lnTo>
                  <a:pt x="0" y="2159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 16">
            <a:extLst>
              <a:ext uri="{FF2B5EF4-FFF2-40B4-BE49-F238E27FC236}">
                <a16:creationId xmlns:a16="http://schemas.microsoft.com/office/drawing/2014/main" id="{AC45AB3E-F572-6544-AD2C-3C1E4408C60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246063" y="4530725"/>
            <a:ext cx="588963" cy="215901"/>
          </a:xfrm>
          <a:custGeom>
            <a:avLst/>
            <a:gdLst/>
            <a:ahLst/>
            <a:cxnLst/>
            <a:rect l="0" t="0" r="0" b="0"/>
            <a:pathLst>
              <a:path w="588963" h="215901">
                <a:moveTo>
                  <a:pt x="0" y="158750"/>
                </a:moveTo>
                <a:lnTo>
                  <a:pt x="588962" y="0"/>
                </a:lnTo>
                <a:lnTo>
                  <a:pt x="588962" y="57150"/>
                </a:lnTo>
                <a:lnTo>
                  <a:pt x="0" y="2159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B797BA9C-59E1-8548-B512-BD7E5494F13A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1464925" y="4530725"/>
            <a:ext cx="588964" cy="158751"/>
          </a:xfrm>
          <a:custGeom>
            <a:avLst/>
            <a:gdLst/>
            <a:ahLst/>
            <a:cxnLst/>
            <a:rect l="0" t="0" r="0" b="0"/>
            <a:pathLst>
              <a:path w="588964" h="158751">
                <a:moveTo>
                  <a:pt x="0" y="158750"/>
                </a:moveTo>
                <a:lnTo>
                  <a:pt x="5889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FB4510D1-E174-6640-83DC-2B4DFE39B6E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1464925" y="4587875"/>
            <a:ext cx="588964" cy="158751"/>
          </a:xfrm>
          <a:custGeom>
            <a:avLst/>
            <a:gdLst/>
            <a:ahLst/>
            <a:cxnLst/>
            <a:rect l="0" t="0" r="0" b="0"/>
            <a:pathLst>
              <a:path w="588964" h="158751">
                <a:moveTo>
                  <a:pt x="0" y="158750"/>
                </a:moveTo>
                <a:lnTo>
                  <a:pt x="5889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2B381A3-D7B8-3F46-BEEE-18DB7321BD9C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46063" y="4587875"/>
            <a:ext cx="588963" cy="158751"/>
          </a:xfrm>
          <a:custGeom>
            <a:avLst/>
            <a:gdLst/>
            <a:ahLst/>
            <a:cxnLst/>
            <a:rect l="0" t="0" r="0" b="0"/>
            <a:pathLst>
              <a:path w="588963" h="158751">
                <a:moveTo>
                  <a:pt x="0" y="158750"/>
                </a:moveTo>
                <a:lnTo>
                  <a:pt x="5889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72BE5148-B250-3B4A-BF6A-172F9CB9295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246063" y="4530725"/>
            <a:ext cx="588963" cy="158751"/>
          </a:xfrm>
          <a:custGeom>
            <a:avLst/>
            <a:gdLst/>
            <a:ahLst/>
            <a:cxnLst/>
            <a:rect l="0" t="0" r="0" b="0"/>
            <a:pathLst>
              <a:path w="588963" h="158751">
                <a:moveTo>
                  <a:pt x="0" y="158750"/>
                </a:moveTo>
                <a:lnTo>
                  <a:pt x="5889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FCFEB295-CC0A-0047-A670-AE19564031D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539750" y="1535113"/>
            <a:ext cx="0" cy="271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0F90B660-87B7-1D47-8E96-80B6D05CD96A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39750" y="1535113"/>
            <a:ext cx="11218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B60D80C2-1777-D44C-8486-3C45579F6FF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758613" y="15351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5F2CC86-71FC-3949-AC10-996E841CC2E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3128963" y="2587625"/>
            <a:ext cx="0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6987E38-5E77-AF4D-90EC-F4313D100FD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718175" y="2597150"/>
            <a:ext cx="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7AAB605-4D31-6445-A2C0-A2A44F100152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7443788" y="2470150"/>
            <a:ext cx="0" cy="65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21DFBF-0DAD-E04F-8E3F-A8C0660A6153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6581775" y="2551114"/>
            <a:ext cx="0" cy="47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118184F-7CEB-654D-A01E-0C13561BDCFD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4854575" y="2640013"/>
            <a:ext cx="0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F987935-3EB4-2E49-85CE-75C0A0723D1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10033000" y="1916113"/>
            <a:ext cx="0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30E8079-4691-664C-81BE-F6EAB3E21B2E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10896600" y="1930400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8A9C64E0-2018-A24B-8149-E731E80B630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307388" y="222885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6839C57-6B2F-D048-B5B8-A37E170E6184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 flipV="1">
            <a:off x="3992563" y="2611438"/>
            <a:ext cx="0" cy="4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022810B7-3BBB-4F4E-B86B-5BFC8A8EE2C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9169400" y="1889125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ACEAE6D-979B-344B-A0D3-E0CC9FFF0ACB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2760662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895CB4-10A3-4376-8A78-44FE2F489202}" type="datetime'''''''5''''''''''''''''''''0''''0''''''ML'''''' B''''1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06723487-EDD0-9C47-9AB2-8B413DB1B1B1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692525" y="2657475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AB4E502-397F-4398-B862-963BC198F71A}" type="datetime'''''''-2''''''''''''''0''''''''''''''''''''.5''''''8''6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0.586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EA76028A-8F5B-8F4D-B8D7-BCC40589AFF7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2873376" y="261461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D9A9931-91ED-4EDA-89C3-2CE8EF1DB95A}" type="datetime'''''''''-''''''''1''''.6''''1''9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.61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29F9F38-E1CD-5F41-8F46-C5BE2559B01F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0596564" y="1968500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12132F4-47FB-4FB0-8816-F6D0DB769D76}" type="datetime'''''''''''''-1''''''2''''''''''.''7''''''''''65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2.765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9FE8B81-C0CA-D84A-80A9-AE3C109EBAA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3624262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280249C-3EFE-42DB-8393-608704DF2E25}" type="datetime'''''''''''6''''''6''''''0''ML'''''''''''''''''' ''B''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6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E38E712-C5AB-D54A-8083-7B0623FCC60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946276" y="3240088"/>
            <a:ext cx="638175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DBA5634-CD1F-46D6-8C03-829B270D0853}" type="datetime'''7''''''''''27.''''''''''''''''''44''''''''5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27.445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8DC5A5C3-FF33-424F-AC2F-BC87CE8542D6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777413" y="1943100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80D78A-3954-4B71-BB4B-3001D3771463}" type="datetime'-''''''''''1''''''.''''''''''''4''''''0''''0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.400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773FE6A-193E-C043-9ACD-21AC3924347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6213474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22B6F8D-9E76-40FD-9D1A-61BA06EF860C}" type="datetime'''''''''''''33''''''''''0M''''''L'''' ''''''B''''''2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 B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31D6D31-34BE-5747-B59F-FD58728E19F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7924800" y="4830763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BFB7CFE-9D34-47DF-8DE7-D04AE50C0151}" type="datetime'''''''''''''''''''2''''50''''M''''''L O''''''''''''''''''B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D618D00-763F-6542-AE84-BD5C79375196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0469563" y="4830763"/>
            <a:ext cx="855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0FF793-6147-4D79-A803-97F991295BE4}" type="datetime'''''''''''''''''''''''''100''0ML'' ''''O''B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87628E2-DF1F-F94B-B5DB-89BCAD6FCBBD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8786813" y="4830763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B8E6B3-5050-4242-97C6-6FCF5EF18DC0}" type="datetime'''''''''3''''''''3''0''''''''''''''''M''L'''''''' OB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114EA825-D5E7-4B47-9F4C-C8FF3FEE3FCA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11571288" y="48307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AED3344-A14B-406D-B698-014D153BBF48}" type="datetime'''2''''''''''0''''''''''''''''19''''''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0FD4BE-44C6-7441-98E6-5F44FEC803B9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035049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58A26D3-CA94-4FF4-B11D-368A507CEC16}" type="datetime'''''2''''''5''''''0M''''''L'''''''''''''''' ''''''B''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CBD7B8D-93BD-B848-A708-8973AC2907B0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5349874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2BAF6F5-7431-4ED5-A45A-057084124D0C}" type="datetime'25''''''''''0''M''L ''''''''''''B''''2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 B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A173144-4C87-0744-8BE7-2853EBC28BDF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4486274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9E0B3B-8689-4CB0-B35D-41B3CCFC38F9}" type="datetime'''''''''7''''''''''5''''0''''M''L'''''' B''''''1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7E8E100-71F0-0049-BA4A-6F2165212A55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7029450" y="4830763"/>
            <a:ext cx="828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85B080-8898-4F68-868E-75E0E6F9ABAB}" type="datetime'''''1''''00''''0''''''''''''''''''M''''''L'''''''' ''''B2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0ML B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35BA25B-407F-B044-A451-ABD1020A144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1897062" y="4830763"/>
            <a:ext cx="738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65B4C4-518B-4693-B887-E80F7E985F32}" type="datetime'''''''''''''''''''''''''''3''3''''0''''ML'' ''''B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 B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2AAA1299-38D6-F44A-B645-D15D1E0D653C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084263" y="4198938"/>
            <a:ext cx="638175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CB7606-E702-441C-B6A1-94091E01C9BD}" type="datetime'''''''2''''0''''4''''.5''3''''''''''''''''''''''''4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4.534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BFCBBB2-F98B-7242-9DCE-D21EBB678ECF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9650413" y="4830763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0F951DB-83AF-43B1-B604-0F17E9C8412C}" type="datetime'''5''''''''''0''''''''''''''''''0ML'' ''''''''''''O''''B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0ML OB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62DDA02-7B9F-A144-886D-C553BBABF805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352425" y="48307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BB9E8E-F723-44B7-99EE-35AC8BA63FA9}" type="datetime'''''2''''0''''''''1''''''''''''''''''''''''''''''''''8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80450F0A-F468-1040-8FA1-6828BA55B074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107950" y="4287838"/>
            <a:ext cx="8636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2274BF5-2F18-464A-8C0A-1516EF02D9E8}" type="datetime'''''''1''''''''1''''.''7''''3''9''.''''2''3''''7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.739.23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3708EE74-CC79-A64C-AD75-8F906A8252BD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11371263" y="1725613"/>
            <a:ext cx="774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BAD260E-EEAF-44EF-85DB-1BC677CB153A}" type="datetime'''''''1''''''''''2''''''9''''8341''''''3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983413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43FF79C2-58C7-A84D-874F-8CD59BE31413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4598989" y="267176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DFA56D2-3ACB-4EDA-A244-80BB644DC870}" type="datetime'''''-''6''''''''''.''''8''''''''''8''''''''4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6.884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id="{961F74D5-E187-AC43-995B-EA75B2D4649A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5865813" y="1398588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D65045-3B23-44A6-B422-76DE6A91BAD9}" type="datetime'''''''+''''''''''''''''''''''''1''''''''''''''1''%''''''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1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77A7BFA4-5422-1F48-9389-ED0B9C9E1B10}"/>
              </a:ext>
            </a:extLst>
          </p:cNvPr>
          <p:cNvSpPr txBox="1"/>
          <p:nvPr/>
        </p:nvSpPr>
        <p:spPr>
          <a:xfrm>
            <a:off x="352425" y="463826"/>
            <a:ext cx="3172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 – Volume 2018</a:t>
            </a:r>
          </a:p>
        </p:txBody>
      </p:sp>
    </p:spTree>
    <p:extLst>
      <p:ext uri="{BB962C8B-B14F-4D97-AF65-F5344CB8AC3E}">
        <p14:creationId xmlns:p14="http://schemas.microsoft.com/office/powerpoint/2010/main" val="31165371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27ABEA-2EE6-C341-8A27-CB9179238C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41" imgW="7772400" imgH="10058400" progId="TCLayout.ActiveDocument.1">
                  <p:embed/>
                </p:oleObj>
              </mc:Choice>
              <mc:Fallback>
                <p:oleObj name="think-cell Slide" r:id="rId41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27ABEA-2EE6-C341-8A27-CB9179238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F43CC5-62AB-F343-8005-E24DB7C5DD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998686E-2E9F-9246-8BA9-985B4751AEB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478838" y="237966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0E48953-E185-9144-AD4B-D6598EDA9B4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461125" y="259397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4E63A1-C554-DD41-9EBC-E1CB5EAEFF0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425700" y="26003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7A544B5-C489-824B-B635-B97E9E4E288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453063" y="259397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11786FF-64DA-6240-9FD4-96D1798C1FF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470775" y="239553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D1BBF74-1C57-CD48-BBE0-8773AA56B485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443413" y="25749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AC74537-EDFE-2F47-A085-968529B8B68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488488" y="23209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1B1CB3D-B8A7-E74F-B20C-9018062D36C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435350" y="258286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0B01719-CB50-A941-A178-3054FEC2EC9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883025" y="2574925"/>
            <a:ext cx="560388" cy="79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1AF121CD-1C03-C04C-A309-5807413DA79D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1558925" y="2065338"/>
          <a:ext cx="9244013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547" name="Straight Connector 546">
            <a:extLst>
              <a:ext uri="{FF2B5EF4-FFF2-40B4-BE49-F238E27FC236}">
                <a16:creationId xmlns:a16="http://schemas.microsoft.com/office/drawing/2014/main" id="{8D44E6CD-BDD6-4D42-A9DC-2DA91B80045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2144713" y="2597150"/>
            <a:ext cx="0" cy="6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EF524AA2-4DDC-5F4E-B12B-C6BB1976138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142038" y="1563688"/>
            <a:ext cx="0" cy="774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01E641E7-65AD-1C49-A5E0-9084948AC9F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2144713" y="1563688"/>
            <a:ext cx="81089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>
            <a:extLst>
              <a:ext uri="{FF2B5EF4-FFF2-40B4-BE49-F238E27FC236}">
                <a16:creationId xmlns:a16="http://schemas.microsoft.com/office/drawing/2014/main" id="{4824395D-FD9B-6944-A42D-369F95331B4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0253663" y="1563688"/>
            <a:ext cx="0" cy="5016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7" name="Straight Connector 666">
            <a:extLst>
              <a:ext uri="{FF2B5EF4-FFF2-40B4-BE49-F238E27FC236}">
                <a16:creationId xmlns:a16="http://schemas.microsoft.com/office/drawing/2014/main" id="{58768ECD-CBAB-764C-BEB3-3CBDAF85D67A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V="1">
            <a:off x="2144713" y="1563688"/>
            <a:ext cx="0" cy="781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Straight Connector 427">
            <a:extLst>
              <a:ext uri="{FF2B5EF4-FFF2-40B4-BE49-F238E27FC236}">
                <a16:creationId xmlns:a16="http://schemas.microsoft.com/office/drawing/2014/main" id="{1022B384-3A21-4B4F-BFAC-913E475A118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6218238" y="1912938"/>
            <a:ext cx="0" cy="4254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E6731551-EFEF-0348-A496-A3B43056486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218238" y="1912938"/>
            <a:ext cx="39592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0" name="Straight Connector 429">
            <a:extLst>
              <a:ext uri="{FF2B5EF4-FFF2-40B4-BE49-F238E27FC236}">
                <a16:creationId xmlns:a16="http://schemas.microsoft.com/office/drawing/2014/main" id="{76E00589-3D6B-D84D-AFD0-F729087620D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177463" y="19129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AA6D78AC-535E-A14D-B2FF-401BF95236A8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8197850" y="2354263"/>
            <a:ext cx="0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6F900CA-D232-D246-88E8-FC579FF4AC8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9207500" y="2295525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6A712B4-0C86-7249-B5A9-FF3C1EFBB431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866063" y="5237163"/>
            <a:ext cx="6635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D7B935C-43DA-4C2F-BE11-D117B5EC00C5}" type="datetime'M''AN'''''''' ''''1 ''-'''' B''''''R''''''''''A''ND'''' ''2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C0105FC-7453-5044-8393-1E010D091DE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899025" y="2489200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4AB9C6-F8ED-4E34-8A73-4928BEB8BD6B}" type="datetime'''''''8''''''''''''''''4''''''.''4''1''''''''''''''''8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4.41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ACC1C3C-6B68-714B-A03C-71E9B86D3F4B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901113" y="5237163"/>
            <a:ext cx="61436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C0A8206-601A-4F87-A63B-9DD9FC1B11DB}" type="datetime'MA''''''''N 1'' ''''''''''''''-'' ''''O''TH''ER B''''''RANDS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OTHER BRANDS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7516350-E792-6A42-9388-9D816D028671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881313" y="2495550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48B7C6D-263E-4E2B-83F9-D01C5E2EB3C7}" type="datetime'''''''''''84''''.''''''''''''''''2''''2''''''''1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4.22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AF9169EB-6739-6744-8899-A12B804C74E2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0028238" y="52371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A8A501-68CE-4023-BB4A-43D2D32776F0}" type="datetime'''2''''0''''''''''''''1''''''9''''''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271C5F5-DADB-BA43-980E-A0999EB64F3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5992813" y="52371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D85794-C51E-4B9F-8A33-9B05FE58D6F7}" type="datetime'''''2''''''''''''''0''''''1''''''''''''''''''''''8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12F54CA-83FD-684F-9E7A-960A22E35FAF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6870701" y="2398713"/>
            <a:ext cx="638175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8EC2D7-3AE9-4347-B1C7-26F5E10EB807}" type="datetime'''''9''''''''''0''''''''''''''''2.''''''''''8''''8''''''''''9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2.88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432DAEA-D525-2F43-AD7A-8D15C864547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2822575" y="5237163"/>
            <a:ext cx="6635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FFF714-51DF-4E5E-996E-9A0AD115E587}" type="datetime'MAN ''''1'' -'''''''''' BRAN''''''''''''D'''''''''' ''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EC36372-F1D5-A64D-BD33-98CCD35668B3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1957388" y="52371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53BC9D-86EF-4307-BA5D-649F9C6007C2}" type="datetime'''''''''''''2''''''''''''''''''''''01''''''''''7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5301475-6F71-844F-9B61-6433EBE7ED3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3830638" y="5237163"/>
            <a:ext cx="6635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E8E18F-6104-4568-879C-9B9FED2C2582}" type="datetime'M''AN'''' 1 ''''''''-'''''''''''' ''''BR''''''''''AN''D'''' 2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BA636AA-8CB9-994B-B700-C465A53D0911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6858000" y="5237163"/>
            <a:ext cx="6635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483105-8758-4C52-BC71-B673281AFA39}" type="datetime'MAN'''''' ''''''''1'' ''- ''''BR''''AN''D'''' ''''1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472A5-4C5F-5B47-A34A-2F8B343148EB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889375" y="2482850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6EBE68-165C-4756-A724-157B361464F6}" type="datetime'3''''''1''''''''.''''''''''45''''''''''''3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.453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6001252-5C7B-DA44-A1AF-FFECB7F8D42C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4865688" y="5237163"/>
            <a:ext cx="61436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1AB9056-1881-45CA-95F8-92DBBCBCBA8A}" type="datetime'MA''N ''1'''''''' - O''''''T''''HE''''''R'' BR''A''ND''S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OTHER BRANDS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DCE06BEE-9927-CC46-9845-61D340F58194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3987800" y="1427163"/>
            <a:ext cx="312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08D982-590C-4A88-AB8D-DB8871B1AC96}" type="datetime'''''''''''''''''''''0''%''''''''''''''''''''''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66" name="Text Placeholder 2">
            <a:extLst>
              <a:ext uri="{FF2B5EF4-FFF2-40B4-BE49-F238E27FC236}">
                <a16:creationId xmlns:a16="http://schemas.microsoft.com/office/drawing/2014/main" id="{6942354E-ED92-214A-A523-086FF3AF583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915275" y="1427163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66EFB55-49DF-4ED8-97AA-DBD8F3B7F873}" type="datetime'''''''''''''''''''''''''+''''''1''''''''''''''''1''''%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1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9E18CA2A-67F1-F34F-B22D-3F1B4BC12740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7915275" y="1776413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B38F6B-DDD5-42C6-9130-4FFBC66EDB87}" type="datetime'''''''''''''''''+1''''''''''''''''1''''''''''%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1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B598E334-AA9E-9B42-9B1B-C438EEA639B0}"/>
              </a:ext>
            </a:extLst>
          </p:cNvPr>
          <p:cNvSpPr txBox="1"/>
          <p:nvPr/>
        </p:nvSpPr>
        <p:spPr>
          <a:xfrm>
            <a:off x="352425" y="463826"/>
            <a:ext cx="3172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 2017 – 2018 -  2019</a:t>
            </a:r>
          </a:p>
        </p:txBody>
      </p:sp>
    </p:spTree>
    <p:extLst>
      <p:ext uri="{BB962C8B-B14F-4D97-AF65-F5344CB8AC3E}">
        <p14:creationId xmlns:p14="http://schemas.microsoft.com/office/powerpoint/2010/main" val="42094429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82FD2-7593-7546-BED6-77CAA14C9D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35" imgW="7772400" imgH="10058400" progId="TCLayout.ActiveDocument.1">
                  <p:embed/>
                </p:oleObj>
              </mc:Choice>
              <mc:Fallback>
                <p:oleObj name="think-cell Slide" r:id="rId3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82FD2-7593-7546-BED6-77CAA14C9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A76725B-EB1F-1548-A666-995B3D223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E576733-3017-3A4B-87F6-A0E446C332FD}"/>
              </a:ext>
            </a:extLst>
          </p:cNvPr>
          <p:cNvSpPr txBox="1"/>
          <p:nvPr/>
        </p:nvSpPr>
        <p:spPr>
          <a:xfrm>
            <a:off x="352425" y="463826"/>
            <a:ext cx="3172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nels 2017 – 2018 -  2019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21582A7-D905-C045-84EF-94CA382CA84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286375" y="236378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8148E2A-8DB7-4441-9BAB-CC71167A6C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304088" y="21812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1B699EC-6FFD-744E-B757-5C9AB80E237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313738" y="205581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22DAF7E-7DC0-3E4A-869B-AF39439D291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296025" y="236378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21C7446-89BB-9049-820C-E1726B8DE6F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278313" y="237490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C6AE46-4BF9-BF4F-94C7-8BDB45A1049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268663" y="23717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992547CB-7107-8D4B-B7D3-5471F6B393E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725988" y="2363788"/>
            <a:ext cx="560388" cy="11113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FEED8E-1538-154A-A5C0-5BD7FD7D46C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16338" y="2371725"/>
            <a:ext cx="561975" cy="317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C316B4B0-CAA0-C647-874D-7C2AEA07F296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2401888" y="1800225"/>
          <a:ext cx="7226300" cy="3195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450" name="Straight Connector 449">
            <a:extLst>
              <a:ext uri="{FF2B5EF4-FFF2-40B4-BE49-F238E27FC236}">
                <a16:creationId xmlns:a16="http://schemas.microsoft.com/office/drawing/2014/main" id="{A47E1442-F14B-C047-B9C0-7D53CFBB83A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976938" y="1276350"/>
            <a:ext cx="0" cy="831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CE1EB88F-D97C-9842-95AD-EF97E7D5F56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987675" y="1276350"/>
            <a:ext cx="60912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75C064BC-3369-0F44-8FD9-6D3594813B2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9078913" y="1276350"/>
            <a:ext cx="0" cy="5238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" name="Straight Connector 540">
            <a:extLst>
              <a:ext uri="{FF2B5EF4-FFF2-40B4-BE49-F238E27FC236}">
                <a16:creationId xmlns:a16="http://schemas.microsoft.com/office/drawing/2014/main" id="{5568D3F6-2B27-664C-851A-C0E52399C92C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V="1">
            <a:off x="2987675" y="1276349"/>
            <a:ext cx="0" cy="839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Straight Connector 433">
            <a:extLst>
              <a:ext uri="{FF2B5EF4-FFF2-40B4-BE49-F238E27FC236}">
                <a16:creationId xmlns:a16="http://schemas.microsoft.com/office/drawing/2014/main" id="{E882FA3A-2889-1F47-A180-ECA1E9F35A0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6053138" y="1625600"/>
            <a:ext cx="0" cy="4826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6E95261E-2BB0-0A4E-B54A-87F57B62F40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6053138" y="1625600"/>
            <a:ext cx="2949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" name="Straight Connector 435">
            <a:extLst>
              <a:ext uri="{FF2B5EF4-FFF2-40B4-BE49-F238E27FC236}">
                <a16:creationId xmlns:a16="http://schemas.microsoft.com/office/drawing/2014/main" id="{6DB9F90A-F622-E644-BE9B-74843BB806D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9002713" y="1625600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1D0DF5D-1A1C-4A40-BA19-1C9D62FD958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032750" y="2030413"/>
            <a:ext cx="0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72E9C45-B9BD-A641-9C51-0DA144F14CB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005388" y="2338388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6F18ED7-8B43-1045-AB08-2FBEC6A61D8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023100" y="2155824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59E46D7-1BE4-2340-99FB-3B9BA0DF3B0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7816850" y="4972050"/>
            <a:ext cx="43180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21D2EA8-2209-4143-B584-229A0538AB37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2800350" y="497205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23DE50A-790D-4B45-AEB6-B78DBBEF05A4}" type="datetime'''''''''''''2''''''''0''''''1''''''''''''''''7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123536C-DA10-AC45-8695-3E624D185D6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724275" y="2278063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56F78E-C5DC-45D0-999A-31C4E6512200}" type="datetime'1''''''''''''''5.''''''''''''''''''''0''''''17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.01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B00D55A-3334-5C43-8C01-3948307B5EA8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853488" y="497205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13DAB3-EF4A-46A6-B145-6497533CE9B0}" type="datetime'''''''2''''''''''''''''''''0''''1''''9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A785AC-EEB3-A643-A576-46D27930808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4789488" y="4972050"/>
            <a:ext cx="4318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B486087-4950-D24D-90FA-1F0BFE628362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5827713" y="497205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EE28BCC-6F03-4112-AC97-1B67BC9C78D6}" type="datetime'''''''''''''''20''''''''1''8''''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4738B5B-CE6B-4A47-BA94-E1368A318253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3773488" y="4972050"/>
            <a:ext cx="449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Hyper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E90B0-293F-8644-A293-4E73420B67E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6799263" y="4972050"/>
            <a:ext cx="449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per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875AB9F7-2C4C-CE40-B575-94DB65446D59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4325938" y="1139825"/>
            <a:ext cx="312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BB037AF-5A9D-4993-AB3C-42593D714B66}" type="datetime'''''''''''''''''''''''''''''0''''''''''''''''''''''''''%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40" name="Text Placeholder 2">
            <a:extLst>
              <a:ext uri="{FF2B5EF4-FFF2-40B4-BE49-F238E27FC236}">
                <a16:creationId xmlns:a16="http://schemas.microsoft.com/office/drawing/2014/main" id="{E29E23F1-49DD-CC4F-87F6-69A04BF372D8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245350" y="1139825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7C9EB1-87F1-40C3-B918-2A4F553B7B85}" type="datetime'''''+''''''''''''''''''''''1''''2''''''''''''''''''%''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2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1E3CB89F-C057-D845-A5DA-B8A927789EE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245350" y="1489075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0ED6B3-9A78-4850-88A7-02CC3CE3D109}" type="datetime'''''''''''''''''''''''''''''''''+''1''''''''2''%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2%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4414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57" imgW="7772400" imgH="10058400" progId="TCLayout.ActiveDocument.1">
                  <p:embed/>
                </p:oleObj>
              </mc:Choice>
              <mc:Fallback>
                <p:oleObj name="think-cell Slide" r:id="rId57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366113F-BBD4-384D-AC3A-68E324C0EBF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092700" y="2486025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9195BB7-4DDA-BD4D-8E10-CBF8B45B8DA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767138" y="2446338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DB4B3D-D477-8544-AAAF-CA869F96D5F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116013" y="3027363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3C8F96-2BDB-B54A-A270-EC15217491E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441575" y="2617788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9" name="Straight Connector 1278">
            <a:extLst>
              <a:ext uri="{FF2B5EF4-FFF2-40B4-BE49-F238E27FC236}">
                <a16:creationId xmlns:a16="http://schemas.microsoft.com/office/drawing/2014/main" id="{FE2929F4-B899-7447-860E-47438A8867F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418263" y="2486025"/>
            <a:ext cx="5873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0" name="Straight Connector 639">
            <a:extLst>
              <a:ext uri="{FF2B5EF4-FFF2-40B4-BE49-F238E27FC236}">
                <a16:creationId xmlns:a16="http://schemas.microsoft.com/office/drawing/2014/main" id="{09BF0AAA-9819-9A4F-BF97-3A7A12CBC72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742238" y="1824038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ADAD1FCA-CD74-604F-B2C9-7505BBDE3D0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067800" y="1495425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B9C2AAEF-AA7D-E04B-80E4-327C7D9CDFD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393363" y="1554163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6BAF9B24-D1B3-FC48-AF3A-D0FF85A41EA5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3175" y="1412875"/>
          <a:ext cx="12093575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 useBgFill="1">
        <p:nvSpPr>
          <p:cNvPr id="4" name="Freeform 3">
            <a:extLst>
              <a:ext uri="{FF2B5EF4-FFF2-40B4-BE49-F238E27FC236}">
                <a16:creationId xmlns:a16="http://schemas.microsoft.com/office/drawing/2014/main" id="{11945A0B-DC6E-AC48-880B-282E8ED1839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25438" y="3052763"/>
            <a:ext cx="844551" cy="284163"/>
          </a:xfrm>
          <a:custGeom>
            <a:avLst/>
            <a:gdLst/>
            <a:ahLst/>
            <a:cxnLst/>
            <a:rect l="0" t="0" r="0" b="0"/>
            <a:pathLst>
              <a:path w="844551" h="284163">
                <a:moveTo>
                  <a:pt x="0" y="227012"/>
                </a:moveTo>
                <a:lnTo>
                  <a:pt x="844550" y="0"/>
                </a:lnTo>
                <a:lnTo>
                  <a:pt x="844550" y="57150"/>
                </a:lnTo>
                <a:lnTo>
                  <a:pt x="0" y="2841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1" name="Freeform 10">
            <a:extLst>
              <a:ext uri="{FF2B5EF4-FFF2-40B4-BE49-F238E27FC236}">
                <a16:creationId xmlns:a16="http://schemas.microsoft.com/office/drawing/2014/main" id="{FD20EBCB-DD79-F64D-87D0-6F237C9946B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627688" y="3052763"/>
            <a:ext cx="844551" cy="284163"/>
          </a:xfrm>
          <a:custGeom>
            <a:avLst/>
            <a:gdLst/>
            <a:ahLst/>
            <a:cxnLst/>
            <a:rect l="0" t="0" r="0" b="0"/>
            <a:pathLst>
              <a:path w="844551" h="284163">
                <a:moveTo>
                  <a:pt x="0" y="227012"/>
                </a:moveTo>
                <a:lnTo>
                  <a:pt x="844550" y="0"/>
                </a:lnTo>
                <a:lnTo>
                  <a:pt x="844550" y="57150"/>
                </a:lnTo>
                <a:lnTo>
                  <a:pt x="0" y="2841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 14">
            <a:extLst>
              <a:ext uri="{FF2B5EF4-FFF2-40B4-BE49-F238E27FC236}">
                <a16:creationId xmlns:a16="http://schemas.microsoft.com/office/drawing/2014/main" id="{DBFEDF3C-1F03-6D44-97B2-2A57E0E1637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928350" y="3052763"/>
            <a:ext cx="844551" cy="284163"/>
          </a:xfrm>
          <a:custGeom>
            <a:avLst/>
            <a:gdLst/>
            <a:ahLst/>
            <a:cxnLst/>
            <a:rect l="0" t="0" r="0" b="0"/>
            <a:pathLst>
              <a:path w="844551" h="284163">
                <a:moveTo>
                  <a:pt x="0" y="227012"/>
                </a:moveTo>
                <a:lnTo>
                  <a:pt x="844550" y="0"/>
                </a:lnTo>
                <a:lnTo>
                  <a:pt x="844550" y="57150"/>
                </a:lnTo>
                <a:lnTo>
                  <a:pt x="0" y="2841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70772B5D-EF58-5849-A1B1-4C0D0E20DFC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25438" y="3109913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ACB0EAD0-CEA2-6448-AEAC-74630D879B0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627688" y="3052763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1CFFD91A-7A65-9943-A91B-F7CCB405F81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627688" y="3109913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61523784-67B3-4845-A01D-BFD8FA07925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928350" y="3052763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E818E50-9DA5-C046-B049-E474AA79D2A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25438" y="3052763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2C8AA257-5FCF-5347-9CE0-A0D5C8910CC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928350" y="3109913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59" name="Straight Connector 1458">
            <a:extLst>
              <a:ext uri="{FF2B5EF4-FFF2-40B4-BE49-F238E27FC236}">
                <a16:creationId xmlns:a16="http://schemas.microsoft.com/office/drawing/2014/main" id="{DC5D508C-13F7-4A4A-A198-D7B95CDF354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011863" y="20780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8" name="Straight Connector 1457">
            <a:extLst>
              <a:ext uri="{FF2B5EF4-FFF2-40B4-BE49-F238E27FC236}">
                <a16:creationId xmlns:a16="http://schemas.microsoft.com/office/drawing/2014/main" id="{3B5D1D34-31AD-FA45-97A7-A3F8C4605DD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47713" y="2078038"/>
            <a:ext cx="5264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3" name="Straight Connector 1162">
            <a:extLst>
              <a:ext uri="{FF2B5EF4-FFF2-40B4-BE49-F238E27FC236}">
                <a16:creationId xmlns:a16="http://schemas.microsoft.com/office/drawing/2014/main" id="{F47D66F2-4B10-6445-B9E9-A90EC774CD24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V="1">
            <a:off x="747713" y="2078038"/>
            <a:ext cx="0" cy="693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B04593C7-B0A8-C34B-A13E-E941A64A791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747713" y="171450"/>
            <a:ext cx="10602913" cy="14732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0" name="Straight Connector 1329">
            <a:extLst>
              <a:ext uri="{FF2B5EF4-FFF2-40B4-BE49-F238E27FC236}">
                <a16:creationId xmlns:a16="http://schemas.microsoft.com/office/drawing/2014/main" id="{A47D51AA-87F1-CF44-9199-C09077CE595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6088063" y="1146175"/>
            <a:ext cx="0" cy="1084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2" name="Straight Connector 1331">
            <a:extLst>
              <a:ext uri="{FF2B5EF4-FFF2-40B4-BE49-F238E27FC236}">
                <a16:creationId xmlns:a16="http://schemas.microsoft.com/office/drawing/2014/main" id="{18E44136-EBB9-9C48-BE41-9548C5A7A16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1350625" y="11461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1" name="Straight Connector 1330">
            <a:extLst>
              <a:ext uri="{FF2B5EF4-FFF2-40B4-BE49-F238E27FC236}">
                <a16:creationId xmlns:a16="http://schemas.microsoft.com/office/drawing/2014/main" id="{0AF12BE8-5629-D64C-A020-3A2D1B6CF43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088063" y="1146175"/>
            <a:ext cx="52625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6" name="Straight Connector 1275">
            <a:extLst>
              <a:ext uri="{FF2B5EF4-FFF2-40B4-BE49-F238E27FC236}">
                <a16:creationId xmlns:a16="http://schemas.microsoft.com/office/drawing/2014/main" id="{B0665F65-5FF6-D441-AD99-E869115CAC9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10025063" y="1525588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101C6D3-23E8-0D43-A27B-DF5D78C6DB8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7373938" y="2409825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9465FF2C-B047-D548-A569-B5B04EE2881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4724400" y="2466975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21B9DE8D-6286-D141-BFF9-25B26AB6C72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3398838" y="254158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7154B0-F336-7D48-B5F4-93FBCF036D01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8699500" y="17478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96CB9CC1-41E6-564D-84E2-533B7100443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2073275" y="295116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8" name="Text Placeholder 2">
            <a:extLst>
              <a:ext uri="{FF2B5EF4-FFF2-40B4-BE49-F238E27FC236}">
                <a16:creationId xmlns:a16="http://schemas.microsoft.com/office/drawing/2014/main" id="{7CCB3D53-6E28-6642-944E-4B3C1DD7CBCB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11163300" y="34210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C3216D-D1CF-44D6-BDFC-0EDA18F83897}" type="datetime'''2''''0''''1''''''9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BEC2774-0DD6-D044-A59C-4560DE983D0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3213100" y="3421063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025D40-A53A-4572-A509-4343F1A78ABE}" type="datetime'p''''''''r''''''''i''''c''''''''''e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ic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47D5B778-2A24-1C49-8179-3CA30A9BD143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1960563" y="3421063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D93841-0C58-47F6-BA56-AB50ACBF4E3B}" type="datetime'''''''''''''''''''''''''vo''l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v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5" name="Text Placeholder 2">
            <a:extLst>
              <a:ext uri="{FF2B5EF4-FFF2-40B4-BE49-F238E27FC236}">
                <a16:creationId xmlns:a16="http://schemas.microsoft.com/office/drawing/2014/main" id="{5B05B166-CD72-CF46-A882-645DFE0B583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261225" y="3421063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7C6E26-408E-46BA-9382-6330D456C2FC}" type="datetime'''''v''''''''''''''''''''''''''''''''o''l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v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669BEE7-753D-C644-8921-310D0DA4204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5862638" y="34210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BECD93-227C-4CDB-9A5F-E8E7D1F38D26}" type="datetime'2''0''''''''''''''''''''''''''1''''''''''''''''''8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D24556DD-4F98-4548-918A-DC55C3BE67C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499475" y="1849438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E5B665-356D-4E7B-BD99-E877CEF939A7}" type="datetime''' $''''''''''''4''''''''''''''''0'''''' 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40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DC0A72C-052D-4B41-8EF5-A5C0834EC32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587875" y="3421063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312058C-E4CB-4CAE-890F-7A640B0E0424}" type="datetime'''''''''''''''''''''''''m''''''''''i''''''''''x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ix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29" name="Text Placeholder 2">
            <a:extLst>
              <a:ext uri="{FF2B5EF4-FFF2-40B4-BE49-F238E27FC236}">
                <a16:creationId xmlns:a16="http://schemas.microsoft.com/office/drawing/2014/main" id="{D54FECA3-89E4-D64B-B463-87671AC42AC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723438" y="1579563"/>
            <a:ext cx="604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926A1F3-94E5-499A-9A66-E2C841CC6F47}" type="datetime''''' ''$''''''(''7,''''''''09'''')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(7,09)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2" name="Text Placeholder 2">
            <a:extLst>
              <a:ext uri="{FF2B5EF4-FFF2-40B4-BE49-F238E27FC236}">
                <a16:creationId xmlns:a16="http://schemas.microsoft.com/office/drawing/2014/main" id="{3F307C36-4EBE-1D46-96D8-3759A008809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535488" y="2511425"/>
            <a:ext cx="379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03AFC0-0935-4241-B74A-79DBB12BB905}" type="datetime''''''''' ''''$''''''''(5'''''''''''''''''''''''''''''')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(5)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67" name="Text Placeholder 2">
            <a:extLst>
              <a:ext uri="{FF2B5EF4-FFF2-40B4-BE49-F238E27FC236}">
                <a16:creationId xmlns:a16="http://schemas.microsoft.com/office/drawing/2014/main" id="{034E382B-0BD4-404C-BA27-9D7172B4665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925175" y="1336675"/>
            <a:ext cx="852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6D592AD-201C-47DB-ACF7-5D07A54EEF01}" type="datetime''''''''''' ''''''''''''$''1.4''''''''''9''''8,''''3''''''7'' 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.498,37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7" name="Text Placeholder 2">
            <a:extLst>
              <a:ext uri="{FF2B5EF4-FFF2-40B4-BE49-F238E27FC236}">
                <a16:creationId xmlns:a16="http://schemas.microsoft.com/office/drawing/2014/main" id="{70F628EE-7637-F749-AE04-2BC232891DDE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9888538" y="3421063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6F6E049-275B-4047-9F06-F9CA35155088}" type="datetime'''''''''''m''''''''''''''''''''''''i''''''''''x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ix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6" name="Text Placeholder 2">
            <a:extLst>
              <a:ext uri="{FF2B5EF4-FFF2-40B4-BE49-F238E27FC236}">
                <a16:creationId xmlns:a16="http://schemas.microsoft.com/office/drawing/2014/main" id="{CD65CE0E-A77E-8943-A46F-B6EAC8E394FC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8513763" y="3421063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E1448F-48B5-43B6-8C20-A7E026882B2B}" type="datetime'''p''r''''''''''''''i''''''''''''''''c''''''e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ic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1" name="Text Placeholder 2">
            <a:extLst>
              <a:ext uri="{FF2B5EF4-FFF2-40B4-BE49-F238E27FC236}">
                <a16:creationId xmlns:a16="http://schemas.microsoft.com/office/drawing/2014/main" id="{D0E0493B-0DFE-7842-A9B1-5747AB7036C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198813" y="2643188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A50326-5BEC-4B47-9288-541BB41ABE21}" type="datetime''''''''''''' $''''''''''''''''2''''''''''''''''''''''''1'''' 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21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0" name="Text Placeholder 2">
            <a:extLst>
              <a:ext uri="{FF2B5EF4-FFF2-40B4-BE49-F238E27FC236}">
                <a16:creationId xmlns:a16="http://schemas.microsoft.com/office/drawing/2014/main" id="{FAE8B142-5BE2-994C-96E0-60AEA61B4AD4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873250" y="3052763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CC2A787-FC12-4AA2-A236-B09769F00B05}" type="datetime''''' ''''''''''''''''$''''''5''0'''''''''''' 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50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F1711FB7-197A-414B-9FF3-74EA994FADE7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7173913" y="2511425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2240CBD-5021-4451-ADFA-7BD6D493CAD3}" type="datetime''''''''''''''''' ''''''''$''''''''''''''''''81'''''''''' 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81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A470E4F-C1E8-F54E-987F-AF93891CC71E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560388" y="34210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1C3B18-5D38-4BDC-AF17-5D4131DEE5CB}" type="datetime'''''''''''''''''''''''2''''0''''''''1''''7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24" name="Text Placeholder 2">
            <a:extLst>
              <a:ext uri="{FF2B5EF4-FFF2-40B4-BE49-F238E27FC236}">
                <a16:creationId xmlns:a16="http://schemas.microsoft.com/office/drawing/2014/main" id="{8E2547BC-E76E-E843-993C-2C8DC3A41EC3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434975" y="2809875"/>
            <a:ext cx="627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267DBFE-3A28-4E3B-84E6-E5DE8F551EB5}" type="datetime''' $''''''''''''1''''''.3''1''''''''''9'''''''''''''' 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.319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25" name="Text Placeholder 2">
            <a:extLst>
              <a:ext uri="{FF2B5EF4-FFF2-40B4-BE49-F238E27FC236}">
                <a16:creationId xmlns:a16="http://schemas.microsoft.com/office/drawing/2014/main" id="{F8F224C8-7F76-4847-BD95-A75D77A11C45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737225" y="2268538"/>
            <a:ext cx="627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5E43E9-0697-40D8-B4F7-8B82072A5B12}" type="datetime''' ''$''''1''''''''''.3''''''8''''''''''5'' 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.385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76" name="Text Placeholder 2">
            <a:extLst>
              <a:ext uri="{FF2B5EF4-FFF2-40B4-BE49-F238E27FC236}">
                <a16:creationId xmlns:a16="http://schemas.microsoft.com/office/drawing/2014/main" id="{12BEB9B9-E825-8E4C-9ABB-FF9ADA01881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3000375" y="1941513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A8B187E-D305-4837-BD8D-DBBDB451DBBC}" type="datetime'''''+5'''''''''''''''''''''''''''''',''''''''''''''0''0%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5,00%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08" name="Text Placeholder 2">
            <a:extLst>
              <a:ext uri="{FF2B5EF4-FFF2-40B4-BE49-F238E27FC236}">
                <a16:creationId xmlns:a16="http://schemas.microsoft.com/office/drawing/2014/main" id="{901DDA8F-472D-D644-B99B-8A345765E29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668963" y="771525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3E1590-207B-40BD-A62B-BE2CDA40F560}" type="datetime'''+''''6,''''''59''''''''''''''%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6,59%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09" name="Text Placeholder 2">
            <a:extLst>
              <a:ext uri="{FF2B5EF4-FFF2-40B4-BE49-F238E27FC236}">
                <a16:creationId xmlns:a16="http://schemas.microsoft.com/office/drawing/2014/main" id="{FA6E6B33-FA2B-414C-9042-B777B57D0C2D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8339138" y="1009650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74BBD31-261A-4E35-BF83-E159B4364FDF}" type="datetime'''+''''''''8,2''''''''''''''1''''''''''''''''''''''''''''''%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8,21%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92E0CE65-8548-E641-A598-876DAE0BAF65}"/>
              </a:ext>
            </a:extLst>
          </p:cNvPr>
          <p:cNvSpPr txBox="1"/>
          <p:nvPr/>
        </p:nvSpPr>
        <p:spPr>
          <a:xfrm>
            <a:off x="744279" y="233916"/>
            <a:ext cx="6169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industry drivers Revenue</a:t>
            </a:r>
          </a:p>
        </p:txBody>
      </p:sp>
    </p:spTree>
    <p:extLst>
      <p:ext uri="{BB962C8B-B14F-4D97-AF65-F5344CB8AC3E}">
        <p14:creationId xmlns:p14="http://schemas.microsoft.com/office/powerpoint/2010/main" val="415162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57" imgW="7772400" imgH="10058400" progId="TCLayout.ActiveDocument.1">
                  <p:embed/>
                </p:oleObj>
              </mc:Choice>
              <mc:Fallback>
                <p:oleObj name="think-cell Slide" r:id="rId57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ADAD1FCA-CD74-604F-B2C9-7505BBDE3D0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413875" y="1835150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3C8F96-2BDB-B54A-A270-EC15217491E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641600" y="2997200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9195BB7-4DDA-BD4D-8E10-CBF8B45B8DA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995738" y="2851150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366113F-BBD4-384D-AC3A-68E324C0EBF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349875" y="2906713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9" name="Straight Connector 1278">
            <a:extLst>
              <a:ext uri="{FF2B5EF4-FFF2-40B4-BE49-F238E27FC236}">
                <a16:creationId xmlns:a16="http://schemas.microsoft.com/office/drawing/2014/main" id="{FE2929F4-B899-7447-860E-47438A8867F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705600" y="2906713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DB4B3D-D477-8544-AAAF-CA869F96D5F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285875" y="3362325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0" name="Straight Connector 639">
            <a:extLst>
              <a:ext uri="{FF2B5EF4-FFF2-40B4-BE49-F238E27FC236}">
                <a16:creationId xmlns:a16="http://schemas.microsoft.com/office/drawing/2014/main" id="{09BF0AAA-9819-9A4F-BF97-3A7A12CBC72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059738" y="2109788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B9C2AAEF-AA7D-E04B-80E4-327C7D9CDFD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769600" y="1884363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283E1C95-AB64-FB43-A60A-3937212B2A9F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150813" y="1752600"/>
          <a:ext cx="12357100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 useBgFill="1">
        <p:nvSpPr>
          <p:cNvPr id="15" name="Freeform 14">
            <a:extLst>
              <a:ext uri="{FF2B5EF4-FFF2-40B4-BE49-F238E27FC236}">
                <a16:creationId xmlns:a16="http://schemas.microsoft.com/office/drawing/2014/main" id="{0E51AA77-59B3-4A45-BC2F-3EAF5BBBE9F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1317288" y="3387725"/>
            <a:ext cx="860426" cy="288926"/>
          </a:xfrm>
          <a:custGeom>
            <a:avLst/>
            <a:gdLst/>
            <a:ahLst/>
            <a:cxnLst/>
            <a:rect l="0" t="0" r="0" b="0"/>
            <a:pathLst>
              <a:path w="860426" h="288926">
                <a:moveTo>
                  <a:pt x="0" y="231775"/>
                </a:moveTo>
                <a:lnTo>
                  <a:pt x="860425" y="0"/>
                </a:lnTo>
                <a:lnTo>
                  <a:pt x="860425" y="57150"/>
                </a:lnTo>
                <a:lnTo>
                  <a:pt x="0" y="2889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1" name="Freeform 10">
            <a:extLst>
              <a:ext uri="{FF2B5EF4-FFF2-40B4-BE49-F238E27FC236}">
                <a16:creationId xmlns:a16="http://schemas.microsoft.com/office/drawing/2014/main" id="{2F69A5F1-2E25-874D-B868-EE22EEF3C85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897563" y="3387725"/>
            <a:ext cx="862013" cy="288926"/>
          </a:xfrm>
          <a:custGeom>
            <a:avLst/>
            <a:gdLst/>
            <a:ahLst/>
            <a:cxnLst/>
            <a:rect l="0" t="0" r="0" b="0"/>
            <a:pathLst>
              <a:path w="862013" h="288926">
                <a:moveTo>
                  <a:pt x="0" y="231775"/>
                </a:moveTo>
                <a:lnTo>
                  <a:pt x="862012" y="0"/>
                </a:lnTo>
                <a:lnTo>
                  <a:pt x="862012" y="57150"/>
                </a:lnTo>
                <a:lnTo>
                  <a:pt x="0" y="2889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4" name="Freeform 3">
            <a:extLst>
              <a:ext uri="{FF2B5EF4-FFF2-40B4-BE49-F238E27FC236}">
                <a16:creationId xmlns:a16="http://schemas.microsoft.com/office/drawing/2014/main" id="{62C3801A-6502-CB4A-8F2C-9FF8C6F2B44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79425" y="3387725"/>
            <a:ext cx="860426" cy="288926"/>
          </a:xfrm>
          <a:custGeom>
            <a:avLst/>
            <a:gdLst/>
            <a:ahLst/>
            <a:cxnLst/>
            <a:rect l="0" t="0" r="0" b="0"/>
            <a:pathLst>
              <a:path w="860426" h="288926">
                <a:moveTo>
                  <a:pt x="0" y="231775"/>
                </a:moveTo>
                <a:lnTo>
                  <a:pt x="860425" y="0"/>
                </a:lnTo>
                <a:lnTo>
                  <a:pt x="860425" y="57150"/>
                </a:lnTo>
                <a:lnTo>
                  <a:pt x="0" y="2889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B001EB8E-8BF2-B64E-B6EA-2B0580B1BA89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79425" y="3444875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9B2513DC-820F-D34E-A318-8EB04CC7090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897563" y="3387725"/>
            <a:ext cx="862013" cy="231776"/>
          </a:xfrm>
          <a:custGeom>
            <a:avLst/>
            <a:gdLst/>
            <a:ahLst/>
            <a:cxnLst/>
            <a:rect l="0" t="0" r="0" b="0"/>
            <a:pathLst>
              <a:path w="862013" h="231776">
                <a:moveTo>
                  <a:pt x="0" y="231775"/>
                </a:moveTo>
                <a:lnTo>
                  <a:pt x="8620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BD6BFCF-045B-7046-92FC-DED1D397294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897563" y="3444875"/>
            <a:ext cx="862013" cy="231776"/>
          </a:xfrm>
          <a:custGeom>
            <a:avLst/>
            <a:gdLst/>
            <a:ahLst/>
            <a:cxnLst/>
            <a:rect l="0" t="0" r="0" b="0"/>
            <a:pathLst>
              <a:path w="862013" h="231776">
                <a:moveTo>
                  <a:pt x="0" y="231775"/>
                </a:moveTo>
                <a:lnTo>
                  <a:pt x="8620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924162A7-4D69-6E4A-B5E7-FFB02EC78DE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1317288" y="3444875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4B3DC11E-EACE-944F-87C1-BEF07007F99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317288" y="3387725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7749C7E4-A97D-1A46-9AD8-2D9AEA2C8B9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79425" y="3387725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59" name="Straight Connector 1458">
            <a:extLst>
              <a:ext uri="{FF2B5EF4-FFF2-40B4-BE49-F238E27FC236}">
                <a16:creationId xmlns:a16="http://schemas.microsoft.com/office/drawing/2014/main" id="{DC5D508C-13F7-4A4A-A198-D7B95CDF354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289675" y="24987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3" name="Straight Connector 1162">
            <a:extLst>
              <a:ext uri="{FF2B5EF4-FFF2-40B4-BE49-F238E27FC236}">
                <a16:creationId xmlns:a16="http://schemas.microsoft.com/office/drawing/2014/main" id="{F47D66F2-4B10-6445-B9E9-A90EC774CD24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V="1">
            <a:off x="909638" y="2498725"/>
            <a:ext cx="0" cy="608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8" name="Straight Connector 1457">
            <a:extLst>
              <a:ext uri="{FF2B5EF4-FFF2-40B4-BE49-F238E27FC236}">
                <a16:creationId xmlns:a16="http://schemas.microsoft.com/office/drawing/2014/main" id="{3B5D1D34-31AD-FA45-97A7-A3F8C4605DD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909638" y="2498725"/>
            <a:ext cx="53800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B04593C7-B0A8-C34B-A13E-E941A64A791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909638" y="500063"/>
            <a:ext cx="10837862" cy="14779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1" name="Straight Connector 1330">
            <a:extLst>
              <a:ext uri="{FF2B5EF4-FFF2-40B4-BE49-F238E27FC236}">
                <a16:creationId xmlns:a16="http://schemas.microsoft.com/office/drawing/2014/main" id="{0AF12BE8-5629-D64C-A020-3A2D1B6CF43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365875" y="1476375"/>
            <a:ext cx="5381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0" name="Straight Connector 1329">
            <a:extLst>
              <a:ext uri="{FF2B5EF4-FFF2-40B4-BE49-F238E27FC236}">
                <a16:creationId xmlns:a16="http://schemas.microsoft.com/office/drawing/2014/main" id="{A47D51AA-87F1-CF44-9199-C09077CE595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6365875" y="1476375"/>
            <a:ext cx="0" cy="1174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2" name="Straight Connector 1331">
            <a:extLst>
              <a:ext uri="{FF2B5EF4-FFF2-40B4-BE49-F238E27FC236}">
                <a16:creationId xmlns:a16="http://schemas.microsoft.com/office/drawing/2014/main" id="{18E44136-EBB9-9C48-BE41-9548C5A7A16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747500" y="14763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96CB9CC1-41E6-564D-84E2-533B7100443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2263775" y="3286125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21B9DE8D-6286-D141-BFF9-25B26AB6C72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3619500" y="2924175"/>
            <a:ext cx="0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4" name="Straight Connector 1553">
            <a:extLst>
              <a:ext uri="{FF2B5EF4-FFF2-40B4-BE49-F238E27FC236}">
                <a16:creationId xmlns:a16="http://schemas.microsoft.com/office/drawing/2014/main" id="{BE026EEE-E9A1-A54E-B863-C5155DCD1FE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10391775" y="1860550"/>
            <a:ext cx="0" cy="49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9465FF2C-B047-D548-A569-B5B04EE2881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4973638" y="2879724"/>
            <a:ext cx="0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3" name="Straight Connector 1552">
            <a:extLst>
              <a:ext uri="{FF2B5EF4-FFF2-40B4-BE49-F238E27FC236}">
                <a16:creationId xmlns:a16="http://schemas.microsoft.com/office/drawing/2014/main" id="{73B3F78E-4E69-7744-BBFB-2ED0788276A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9037638" y="203358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2" name="Straight Connector 1551">
            <a:extLst>
              <a:ext uri="{FF2B5EF4-FFF2-40B4-BE49-F238E27FC236}">
                <a16:creationId xmlns:a16="http://schemas.microsoft.com/office/drawing/2014/main" id="{111581AE-5DBA-9742-BF2C-75521E69234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7683500" y="283051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BEC2774-0DD6-D044-A59C-4560DE983D08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3433763" y="3760788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025D40-A53A-4572-A509-4343F1A78ABE}" type="datetime'p''''''''r''''''''i''''c''''''''''e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ic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45" name="Text Placeholder 2">
            <a:extLst>
              <a:ext uri="{FF2B5EF4-FFF2-40B4-BE49-F238E27FC236}">
                <a16:creationId xmlns:a16="http://schemas.microsoft.com/office/drawing/2014/main" id="{F2439FAA-C0E2-EA4D-8305-1A73FED884BF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882063" y="2135188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28057F-06F4-4140-BA50-04E473D5E661}" type="datetime''''''''''''' ''''''$''''''''''''''''''''''''''''''''5'''' 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5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1" name="Text Placeholder 2">
            <a:extLst>
              <a:ext uri="{FF2B5EF4-FFF2-40B4-BE49-F238E27FC236}">
                <a16:creationId xmlns:a16="http://schemas.microsoft.com/office/drawing/2014/main" id="{D0E0493B-0DFE-7842-A9B1-5747AB7036C3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3463925" y="302260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A7A7B6-E775-4B95-BE5A-201920FCDB61}" type="datetime''''''' ''''''''''$''''''3'''' 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3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669BEE7-753D-C644-8921-310D0DA42048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6140450" y="376078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BECD93-227C-4CDB-9A5F-E8E7D1F38D26}" type="datetime'2''0''''''''''''''''''''''''''1''''''''''''''''''8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6" name="Text Placeholder 2">
            <a:extLst>
              <a:ext uri="{FF2B5EF4-FFF2-40B4-BE49-F238E27FC236}">
                <a16:creationId xmlns:a16="http://schemas.microsoft.com/office/drawing/2014/main" id="{CD65CE0E-A77E-8943-A46F-B6EAC8E394F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8851900" y="3760788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E1448F-48B5-43B6-8C20-A7E026882B2B}" type="datetime'''p''r''''''''''''''i''''''''''''''''c''''''e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ic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44" name="Text Placeholder 2">
            <a:extLst>
              <a:ext uri="{FF2B5EF4-FFF2-40B4-BE49-F238E27FC236}">
                <a16:creationId xmlns:a16="http://schemas.microsoft.com/office/drawing/2014/main" id="{2A352E4E-43BC-5545-B277-FF062F0D5AB6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483474" y="2932113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E96742-5858-4500-9574-8CF43568172C}" type="datetime''' ''''''$''''1''''''''''''''''4'''''''''''''''''''''''''' 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4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47D5B778-2A24-1C49-8179-3CA30A9BD14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2151063" y="3760788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D93841-0C58-47F6-BA56-AB50ACBF4E3B}" type="datetime'''''''''''''''''''''''''vo''l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v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24" name="Text Placeholder 2">
            <a:extLst>
              <a:ext uri="{FF2B5EF4-FFF2-40B4-BE49-F238E27FC236}">
                <a16:creationId xmlns:a16="http://schemas.microsoft.com/office/drawing/2014/main" id="{8E2547BC-E76E-E843-993C-2C8DC3A41EC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663575" y="3144838"/>
            <a:ext cx="492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07249F1-D498-4F66-BB7C-19CA106C40F5}" type="datetime' ''''''''''''''$''1''''''5''''''''''''''''8 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58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47" name="Text Placeholder 2">
            <a:extLst>
              <a:ext uri="{FF2B5EF4-FFF2-40B4-BE49-F238E27FC236}">
                <a16:creationId xmlns:a16="http://schemas.microsoft.com/office/drawing/2014/main" id="{4FFDFF44-00AC-E745-BB38-156D7C333337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1388724" y="1666875"/>
            <a:ext cx="7175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EEF274B-D0C8-4C87-9FB8-5E02B429AFE3}" type="datetime''''''''' $''''1''''8''''''''3'''',1''3 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83,13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2" name="Text Placeholder 2">
            <a:extLst>
              <a:ext uri="{FF2B5EF4-FFF2-40B4-BE49-F238E27FC236}">
                <a16:creationId xmlns:a16="http://schemas.microsoft.com/office/drawing/2014/main" id="{3F307C36-4EBE-1D46-96D8-3759A008809E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784725" y="2932113"/>
            <a:ext cx="379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4710F7-B06F-44AF-B953-98B795D74A70}" type="datetime''''''''''''''''''''''''' $''''''''''''''''(''''1'''')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(1)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5" name="Text Placeholder 2">
            <a:extLst>
              <a:ext uri="{FF2B5EF4-FFF2-40B4-BE49-F238E27FC236}">
                <a16:creationId xmlns:a16="http://schemas.microsoft.com/office/drawing/2014/main" id="{5B05B166-CD72-CF46-A882-645DFE0B583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7570788" y="3760788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7C6E26-408E-46BA-9382-6330D456C2FC}" type="datetime'''''v''''''''''''''''''''''''''''''''o''l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v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0" name="Text Placeholder 2">
            <a:extLst>
              <a:ext uri="{FF2B5EF4-FFF2-40B4-BE49-F238E27FC236}">
                <a16:creationId xmlns:a16="http://schemas.microsoft.com/office/drawing/2014/main" id="{FAE8B142-5BE2-994C-96E0-60AEA61B4AD4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2108200" y="3387725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7F36F53-DB4D-4D46-B935-033748CC7779}" type="datetime''''''''''''' ''''''''''$''''6'''''''' 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6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46" name="Text Placeholder 2">
            <a:extLst>
              <a:ext uri="{FF2B5EF4-FFF2-40B4-BE49-F238E27FC236}">
                <a16:creationId xmlns:a16="http://schemas.microsoft.com/office/drawing/2014/main" id="{B16665BA-9B1F-B945-8CF2-EB0093E6669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10090149" y="1909763"/>
            <a:ext cx="604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741E73-3A10-4D1F-BBA8-D8A3EBAD9585}" type="datetime''' ''$(''''''''0'''',''''''8''''''4'''')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(0,84)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A470E4F-C1E8-F54E-987F-AF93891CC71E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722313" y="376078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1C3B18-5D38-4BDC-AF17-5D4131DEE5CB}" type="datetime'''''''''''''''''''''''2''''0''''''''1''''7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DC0A72C-052D-4B41-8EF5-A5C0834EC324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4837113" y="3760788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312058C-E4CB-4CAE-890F-7A640B0E0424}" type="datetime'''''''''''''''''''''''''m''''''''''i''''''''''x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ix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25" name="Text Placeholder 2">
            <a:extLst>
              <a:ext uri="{FF2B5EF4-FFF2-40B4-BE49-F238E27FC236}">
                <a16:creationId xmlns:a16="http://schemas.microsoft.com/office/drawing/2014/main" id="{F8F224C8-7F76-4847-BD95-A75D77A11C45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6081713" y="2689225"/>
            <a:ext cx="492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5D9A0A6-58DC-4928-A7C2-0F316B67AEE8}" type="datetime''''''''' ''''''$''16''''''''''6'''''' 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 $166 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8" name="Text Placeholder 2">
            <a:extLst>
              <a:ext uri="{FF2B5EF4-FFF2-40B4-BE49-F238E27FC236}">
                <a16:creationId xmlns:a16="http://schemas.microsoft.com/office/drawing/2014/main" id="{7CCB3D53-6E28-6642-944E-4B3C1DD7CBCB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1560175" y="376078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C3216D-D1CF-44D6-BDFC-0EDA18F83897}" type="datetime'''2''''0''''1''''''9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97" name="Text Placeholder 2">
            <a:extLst>
              <a:ext uri="{FF2B5EF4-FFF2-40B4-BE49-F238E27FC236}">
                <a16:creationId xmlns:a16="http://schemas.microsoft.com/office/drawing/2014/main" id="{70F628EE-7637-F749-AE04-2BC232891DD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0255250" y="3760788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6F6E049-275B-4047-9F06-F9CA35155088}" type="datetime'''''''''''m''''''''''''''''''''''''i''''''''''x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ix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76" name="Text Placeholder 2">
            <a:extLst>
              <a:ext uri="{FF2B5EF4-FFF2-40B4-BE49-F238E27FC236}">
                <a16:creationId xmlns:a16="http://schemas.microsoft.com/office/drawing/2014/main" id="{12BEB9B9-E825-8E4C-9ABB-FF9ADA01881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3219450" y="2362200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09FFE7-2124-4121-BFDD-F3DCF7F95004}" type="datetime'+''''''''''''4'''''',''''''''''''''''''9''3''''''%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4,93%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08" name="Text Placeholder 2">
            <a:extLst>
              <a:ext uri="{FF2B5EF4-FFF2-40B4-BE49-F238E27FC236}">
                <a16:creationId xmlns:a16="http://schemas.microsoft.com/office/drawing/2014/main" id="{901DDA8F-472D-D644-B99B-8A345765E29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948363" y="1101725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EA8AA9-5E3F-4428-9745-DDB0AB1DAEF0}" type="datetime'''''''''''''''''''''+''''7'''''''''''',''''''''70''%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7,70%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09" name="Text Placeholder 2">
            <a:extLst>
              <a:ext uri="{FF2B5EF4-FFF2-40B4-BE49-F238E27FC236}">
                <a16:creationId xmlns:a16="http://schemas.microsoft.com/office/drawing/2014/main" id="{FA6E6B33-FA2B-414C-9042-B777B57D0C2D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8613775" y="1339850"/>
            <a:ext cx="887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337AA31-CE48-4226-994C-C321D0D32A2E}" type="datetime'''+''''1''''''0,5''''''''''''4''''%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0,54%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92E0CE65-8548-E641-A598-876DAE0BAF65}"/>
              </a:ext>
            </a:extLst>
          </p:cNvPr>
          <p:cNvSpPr txBox="1"/>
          <p:nvPr/>
        </p:nvSpPr>
        <p:spPr>
          <a:xfrm>
            <a:off x="744279" y="233916"/>
            <a:ext cx="6169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-1 drivers Revenue</a:t>
            </a:r>
          </a:p>
        </p:txBody>
      </p:sp>
    </p:spTree>
    <p:extLst>
      <p:ext uri="{BB962C8B-B14F-4D97-AF65-F5344CB8AC3E}">
        <p14:creationId xmlns:p14="http://schemas.microsoft.com/office/powerpoint/2010/main" val="14464146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92E0CE65-8548-E641-A598-876DAE0BAF65}"/>
              </a:ext>
            </a:extLst>
          </p:cNvPr>
          <p:cNvSpPr txBox="1"/>
          <p:nvPr/>
        </p:nvSpPr>
        <p:spPr>
          <a:xfrm>
            <a:off x="744279" y="233916"/>
            <a:ext cx="6169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total market</a:t>
            </a: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6A1D598A-1541-CF4F-8F0D-0A29824EC4F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57175" y="666750"/>
          <a:ext cx="11691938" cy="1754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E487C338-A49F-884B-A241-1A2D9BD7846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216151" y="238918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6B723AE-CF13-4042-8874-F7524F4E7171}" type="datetime'M''''AN''''UF''''''A''''''''''''''''''CT''''URER 2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F1565770-0F2A-C944-89A7-B20A61387DF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156451" y="238918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7D7F5D-B16F-4A1B-9417-D5DF6885B76D}" type="datetime'M''A''''''NUF''''''''A''C''''''TU''''R''''ER 5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6E71AFD-3853-F048-9B17-60A9DFD696C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0244138" y="2389188"/>
            <a:ext cx="1598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C0AC82-8812-4D8F-BB04-270DAAD6325D}" type="datetime'OTHE''R'''' ''''''''''M''AN''UF''AC''''TU''RE''''''''R''S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THER MANUFACTURER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2A7CA62E-6478-0B4B-972E-85250289A81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510214" y="238918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E87C1D-69EE-440F-8322-0CA28243C69B}" type="datetime'''''''M''''A''N''''UF''A''CT''''U''RER'''''''' ''''''''''4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16FCD4FB-D876-8941-BDBC-29F1A009533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802689" y="238918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F7D2A4A-CAB1-4EBF-99BC-022AECC358D0}" type="datetime'M''AN''''''''''''U''FA''''C''T''''''''''''U''RE''''R ''6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25E55EB-768E-FA43-9D67-E08CF9156CC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863976" y="238918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91B7E7-769C-41AD-8F86-CF400A15793E}" type="datetime'''M''A''''''''N''UF''A''''''''''''''CTU''R''E''R'''''' ''3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F132110-3411-7849-839D-0ED189B3FFE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69914" y="238918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F680565-1388-4DF8-94C7-1441D7E9C2FC}" type="datetime'''M''''''AN''UFA''''''''''''CT''''U''''''''R''''E''R'' ''1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757DCC00-7872-B14D-9AB6-EB9B7991D92E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257175" y="2911475"/>
          <a:ext cx="11691938" cy="159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06C9BD05-AD87-B543-A0FE-9748B246A01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156451" y="4525963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C40C595-C742-4D53-BDF6-D836DAFF3F1B}" type="datetime'''''MANU''''''''F''''''''A''''''''CT''URE''R'''''''' ''''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E5672E62-E22F-0A4A-80E9-ADF4D7C9C15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3863976" y="4525963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E1165A-418C-4CCF-AADA-F06B5C7BE7EA}" type="datetime'''M''A''N''''U''''F''''ACT''''''U''R''''''''''ER'''''' 3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04C7C8BE-40B6-F64E-B328-1DC9C4EB7E1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8802689" y="4525963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F59846-9384-4D8B-BAF0-B7A9689CCFD2}" type="datetime'''M''''AN''UF''''''''A''''''C''''''T''U''R''ER'''' 6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C7161083-F6C8-E941-8766-1943FC6193D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216151" y="4525963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2426499-D9A4-4795-8160-44AFB11E53D1}" type="datetime'MA''''''''NU''FA''''C''T''''''U''''RE''''''R'''''''''' 2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DCCB65F1-745B-A245-8C50-839352780EC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69914" y="4525963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E645D0-D4E2-4909-BC10-3005BAD8BF0C}" type="datetime'''''''MA''''''''''N''''''U''FA''CT''''''U''''R''ER ''1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3E8E32AF-585B-094E-82F5-BCE2DC914D3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244138" y="4525963"/>
            <a:ext cx="1598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AC7197-29E3-4FA3-BCB3-0117B14EF60C}" type="datetime'''O''TH''''E''''R'' MA''''''''''NUF''AC''TU''R''''E''''''''RS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THER MANUFACTURER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018002FF-5478-4048-94D5-E62F271A57D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510214" y="4525963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D87C32-C95A-428B-9D59-F42488551759}" type="datetime'''''''''MA''NUFA''CT''''''U''''''''''RER'''' 4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UFACTURER 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06CBCF09-DFD5-264F-AB34-FB9DAF5981D9}"/>
              </a:ext>
            </a:extLst>
          </p:cNvPr>
          <p:cNvSpPr txBox="1"/>
          <p:nvPr/>
        </p:nvSpPr>
        <p:spPr>
          <a:xfrm>
            <a:off x="420022" y="2766775"/>
            <a:ext cx="6169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evolution 2017-2019 Manufacturers</a:t>
            </a:r>
          </a:p>
        </p:txBody>
      </p:sp>
    </p:spTree>
    <p:extLst>
      <p:ext uri="{BB962C8B-B14F-4D97-AF65-F5344CB8AC3E}">
        <p14:creationId xmlns:p14="http://schemas.microsoft.com/office/powerpoint/2010/main" val="2743399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/>
        </p:blipFill>
        <p:spPr>
          <a:xfrm>
            <a:off x="223303" y="59378"/>
            <a:ext cx="4571405" cy="6738350"/>
          </a:xfrm>
        </p:spPr>
      </p:pic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4D32369F-BA12-43C8-8E2F-DF4837BBC25D}"/>
              </a:ext>
            </a:extLst>
          </p:cNvPr>
          <p:cNvSpPr/>
          <p:nvPr/>
        </p:nvSpPr>
        <p:spPr>
          <a:xfrm>
            <a:off x="-91441" y="0"/>
            <a:ext cx="1235563" cy="68571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597724A3-4BD0-4BBC-8822-556C26438DC7}"/>
              </a:ext>
            </a:extLst>
          </p:cNvPr>
          <p:cNvSpPr/>
          <p:nvPr/>
        </p:nvSpPr>
        <p:spPr>
          <a:xfrm>
            <a:off x="3978087" y="893"/>
            <a:ext cx="6395632" cy="68571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C67F96-D68B-4F38-82A7-A0F9C1EE9D02}"/>
              </a:ext>
            </a:extLst>
          </p:cNvPr>
          <p:cNvSpPr txBox="1"/>
          <p:nvPr/>
        </p:nvSpPr>
        <p:spPr>
          <a:xfrm>
            <a:off x="4386332" y="1312343"/>
            <a:ext cx="65133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Fun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Fact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of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BEER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market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in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Spain</a:t>
            </a:r>
            <a:endParaRPr lang="en-US" sz="3000" b="1" dirty="0">
              <a:solidFill>
                <a:srgbClr val="212C33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427667-F73F-433E-B05A-DB10B6224462}"/>
              </a:ext>
            </a:extLst>
          </p:cNvPr>
          <p:cNvSpPr txBox="1"/>
          <p:nvPr/>
        </p:nvSpPr>
        <p:spPr>
          <a:xfrm>
            <a:off x="5165697" y="2509727"/>
            <a:ext cx="18473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endParaRPr lang="en-US" sz="1200" b="1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C0C223-F7BE-46EF-BDD5-CFA594A19B7C}"/>
              </a:ext>
            </a:extLst>
          </p:cNvPr>
          <p:cNvSpPr txBox="1"/>
          <p:nvPr/>
        </p:nvSpPr>
        <p:spPr>
          <a:xfrm>
            <a:off x="5301519" y="2806198"/>
            <a:ext cx="14382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/>
              <a:t>Spaniards drink 84</a:t>
            </a:r>
            <a:r>
              <a:rPr lang="zh-TW" altLang="en-US" sz="1600" b="1" dirty="0"/>
              <a:t> </a:t>
            </a:r>
            <a:r>
              <a:rPr lang="en-US" altLang="zh-TW" sz="1600" b="1" dirty="0"/>
              <a:t>L/</a:t>
            </a:r>
            <a:r>
              <a:rPr lang="en-US" altLang="zh-TW" sz="1600" b="1" dirty="0" err="1"/>
              <a:t>yr</a:t>
            </a:r>
            <a:r>
              <a:rPr lang="en-US" altLang="zh-TW" sz="1600" b="1" dirty="0"/>
              <a:t> per capi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442DF0-BD68-43A3-A089-A2B00358BC3D}"/>
              </a:ext>
            </a:extLst>
          </p:cNvPr>
          <p:cNvSpPr txBox="1"/>
          <p:nvPr/>
        </p:nvSpPr>
        <p:spPr>
          <a:xfrm>
            <a:off x="7187268" y="2152400"/>
            <a:ext cx="13310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endParaRPr lang="en-US" sz="1200" b="1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4EE2BC-6ACA-462A-9724-BEE04578ED2D}"/>
              </a:ext>
            </a:extLst>
          </p:cNvPr>
          <p:cNvSpPr txBox="1"/>
          <p:nvPr/>
        </p:nvSpPr>
        <p:spPr>
          <a:xfrm>
            <a:off x="7805774" y="2695853"/>
            <a:ext cx="1351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/>
              <a:t>Beer</a:t>
            </a:r>
            <a:r>
              <a:rPr lang="zh-TW" altLang="en-US" sz="1600" b="1" dirty="0"/>
              <a:t> </a:t>
            </a:r>
            <a:r>
              <a:rPr lang="en-US" altLang="zh-TW" sz="1600" b="1" dirty="0"/>
              <a:t>consumption</a:t>
            </a:r>
            <a:r>
              <a:rPr lang="zh-TW" altLang="en-US" sz="1600" b="1" dirty="0"/>
              <a:t> </a:t>
            </a:r>
            <a:r>
              <a:rPr lang="en-US" sz="1600" b="1" dirty="0"/>
              <a:t>12th in the world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B235EE-94ED-44D2-8BFE-DB7D0FFD6C15}"/>
              </a:ext>
            </a:extLst>
          </p:cNvPr>
          <p:cNvSpPr txBox="1"/>
          <p:nvPr/>
        </p:nvSpPr>
        <p:spPr>
          <a:xfrm>
            <a:off x="10714985" y="2611539"/>
            <a:ext cx="18473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endParaRPr lang="en-US" sz="1200" b="1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B994DF-8257-4395-AA9A-CBB258C2E911}"/>
              </a:ext>
            </a:extLst>
          </p:cNvPr>
          <p:cNvSpPr txBox="1"/>
          <p:nvPr/>
        </p:nvSpPr>
        <p:spPr>
          <a:xfrm>
            <a:off x="10600256" y="2819299"/>
            <a:ext cx="14132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6 big players in the beer market </a:t>
            </a: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F7BA31D7-C735-456F-99B4-7CBC14D4C42E}"/>
              </a:ext>
            </a:extLst>
          </p:cNvPr>
          <p:cNvSpPr>
            <a:spLocks noEditPoints="1"/>
          </p:cNvSpPr>
          <p:nvPr/>
        </p:nvSpPr>
        <p:spPr bwMode="auto">
          <a:xfrm rot="10800000" flipH="1">
            <a:off x="4535682" y="638426"/>
            <a:ext cx="574771" cy="528432"/>
          </a:xfrm>
          <a:custGeom>
            <a:avLst/>
            <a:gdLst>
              <a:gd name="T0" fmla="*/ 0 w 707"/>
              <a:gd name="T1" fmla="*/ 547 h 650"/>
              <a:gd name="T2" fmla="*/ 221 w 707"/>
              <a:gd name="T3" fmla="*/ 325 h 650"/>
              <a:gd name="T4" fmla="*/ 0 w 707"/>
              <a:gd name="T5" fmla="*/ 88 h 650"/>
              <a:gd name="T6" fmla="*/ 89 w 707"/>
              <a:gd name="T7" fmla="*/ 0 h 650"/>
              <a:gd name="T8" fmla="*/ 413 w 707"/>
              <a:gd name="T9" fmla="*/ 325 h 650"/>
              <a:gd name="T10" fmla="*/ 89 w 707"/>
              <a:gd name="T11" fmla="*/ 650 h 650"/>
              <a:gd name="T12" fmla="*/ 0 w 707"/>
              <a:gd name="T13" fmla="*/ 547 h 650"/>
              <a:gd name="T14" fmla="*/ 383 w 707"/>
              <a:gd name="T15" fmla="*/ 0 h 650"/>
              <a:gd name="T16" fmla="*/ 707 w 707"/>
              <a:gd name="T17" fmla="*/ 325 h 650"/>
              <a:gd name="T18" fmla="*/ 383 w 707"/>
              <a:gd name="T19" fmla="*/ 650 h 650"/>
              <a:gd name="T20" fmla="*/ 295 w 707"/>
              <a:gd name="T21" fmla="*/ 547 h 650"/>
              <a:gd name="T22" fmla="*/ 531 w 707"/>
              <a:gd name="T23" fmla="*/ 325 h 650"/>
              <a:gd name="T24" fmla="*/ 295 w 707"/>
              <a:gd name="T25" fmla="*/ 88 h 650"/>
              <a:gd name="T26" fmla="*/ 383 w 707"/>
              <a:gd name="T27" fmla="*/ 0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07" h="650">
                <a:moveTo>
                  <a:pt x="0" y="547"/>
                </a:moveTo>
                <a:lnTo>
                  <a:pt x="221" y="325"/>
                </a:lnTo>
                <a:lnTo>
                  <a:pt x="0" y="88"/>
                </a:lnTo>
                <a:lnTo>
                  <a:pt x="89" y="0"/>
                </a:lnTo>
                <a:lnTo>
                  <a:pt x="413" y="325"/>
                </a:lnTo>
                <a:lnTo>
                  <a:pt x="89" y="650"/>
                </a:lnTo>
                <a:lnTo>
                  <a:pt x="0" y="547"/>
                </a:lnTo>
                <a:close/>
                <a:moveTo>
                  <a:pt x="383" y="0"/>
                </a:moveTo>
                <a:lnTo>
                  <a:pt x="707" y="325"/>
                </a:lnTo>
                <a:lnTo>
                  <a:pt x="383" y="650"/>
                </a:lnTo>
                <a:lnTo>
                  <a:pt x="295" y="547"/>
                </a:lnTo>
                <a:lnTo>
                  <a:pt x="531" y="325"/>
                </a:lnTo>
                <a:lnTo>
                  <a:pt x="295" y="88"/>
                </a:lnTo>
                <a:lnTo>
                  <a:pt x="383" y="0"/>
                </a:lnTo>
                <a:close/>
              </a:path>
            </a:pathLst>
          </a:custGeom>
          <a:solidFill>
            <a:srgbClr val="F4C834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en-US" sz="600" dirty="0">
              <a:solidFill>
                <a:srgbClr val="F4C834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D8A5D399-3BBF-3043-B56D-529B46FDC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2373" y="2725894"/>
            <a:ext cx="896400" cy="896400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DE83795B-4492-8446-B348-17667E5549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2576" y="2725894"/>
            <a:ext cx="900000" cy="900000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17B30A03-68C3-A446-82AF-ED0FA26656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0927" y="4833679"/>
            <a:ext cx="900000" cy="9000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51FD8C99-AA98-B848-BB84-3D9008AF01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86332" y="4833679"/>
            <a:ext cx="900000" cy="900000"/>
          </a:xfrm>
          <a:prstGeom prst="rect">
            <a:avLst/>
          </a:prstGeom>
        </p:spPr>
      </p:pic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FFB9E10-4403-D64F-8CC0-B77F76F0A6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35700" y="4833679"/>
            <a:ext cx="900000" cy="900000"/>
          </a:xfrm>
          <a:prstGeom prst="rect">
            <a:avLst/>
          </a:prstGeom>
        </p:spPr>
      </p:pic>
      <p:pic>
        <p:nvPicPr>
          <p:cNvPr id="30" name="Picture 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3D87B2FA-F393-3645-9C73-1BEE2BA55B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5700" y="2725894"/>
            <a:ext cx="900000" cy="9000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3C7B491-B982-FD4C-BBE4-9216ACADD6DC}"/>
              </a:ext>
            </a:extLst>
          </p:cNvPr>
          <p:cNvSpPr txBox="1"/>
          <p:nvPr/>
        </p:nvSpPr>
        <p:spPr>
          <a:xfrm>
            <a:off x="7831900" y="4449340"/>
            <a:ext cx="18473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endParaRPr lang="en-US" sz="1200" b="1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82A309E-2AD2-E346-B74A-48D667E55759}"/>
              </a:ext>
            </a:extLst>
          </p:cNvPr>
          <p:cNvSpPr txBox="1"/>
          <p:nvPr/>
        </p:nvSpPr>
        <p:spPr>
          <a:xfrm>
            <a:off x="7805774" y="4788541"/>
            <a:ext cx="171352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89% of the sales made in Spain are single serving </a:t>
            </a:r>
            <a:r>
              <a:rPr lang="en-US" sz="1100" dirty="0"/>
              <a:t>(packages less than 500ml)</a:t>
            </a:r>
            <a:endParaRPr lang="en-US" sz="16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92C72D8-2F8C-7042-8E21-3EE4BF956742}"/>
              </a:ext>
            </a:extLst>
          </p:cNvPr>
          <p:cNvSpPr txBox="1"/>
          <p:nvPr/>
        </p:nvSpPr>
        <p:spPr>
          <a:xfrm>
            <a:off x="5301519" y="4854735"/>
            <a:ext cx="13445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70% of the package type is ca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8935A1D-803C-0B48-A470-CBAE5177CD51}"/>
              </a:ext>
            </a:extLst>
          </p:cNvPr>
          <p:cNvSpPr txBox="1"/>
          <p:nvPr/>
        </p:nvSpPr>
        <p:spPr>
          <a:xfrm>
            <a:off x="10675796" y="4820615"/>
            <a:ext cx="17135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27% of the </a:t>
            </a:r>
          </a:p>
          <a:p>
            <a:r>
              <a:rPr lang="en-US" sz="1600" b="1" dirty="0"/>
              <a:t>sales are made</a:t>
            </a:r>
          </a:p>
          <a:p>
            <a:r>
              <a:rPr lang="en-US" sz="1600" b="1" dirty="0"/>
              <a:t>in 12 packs</a:t>
            </a:r>
          </a:p>
        </p:txBody>
      </p:sp>
    </p:spTree>
    <p:extLst>
      <p:ext uri="{BB962C8B-B14F-4D97-AF65-F5344CB8AC3E}">
        <p14:creationId xmlns:p14="http://schemas.microsoft.com/office/powerpoint/2010/main" val="30716689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20000" decel="8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accel="20000" decel="8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accel="20000" decel="8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20000" decel="8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7" grpId="0"/>
      <p:bldP spid="19" grpId="0" animBg="1"/>
      <p:bldP spid="45" grpId="0"/>
      <p:bldP spid="4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49" imgW="7772400" imgH="10058400" progId="TCLayout.ActiveDocument.1">
                  <p:embed/>
                </p:oleObj>
              </mc:Choice>
              <mc:Fallback>
                <p:oleObj name="think-cell Slide" r:id="rId49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BB125CFF-A662-924E-9602-FAA6451B4A7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34925" y="423863"/>
          <a:ext cx="12239625" cy="1312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 useBgFill="1">
        <p:nvSpPr>
          <p:cNvPr id="4" name="Freeform 3">
            <a:extLst>
              <a:ext uri="{FF2B5EF4-FFF2-40B4-BE49-F238E27FC236}">
                <a16:creationId xmlns:a16="http://schemas.microsoft.com/office/drawing/2014/main" id="{FB4266F0-7C63-154B-B9E4-E758795C25D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92713" y="533400"/>
            <a:ext cx="503238" cy="192089"/>
          </a:xfrm>
          <a:custGeom>
            <a:avLst/>
            <a:gdLst/>
            <a:ahLst/>
            <a:cxnLst/>
            <a:rect l="0" t="0" r="0" b="0"/>
            <a:pathLst>
              <a:path w="503238" h="192089">
                <a:moveTo>
                  <a:pt x="0" y="134938"/>
                </a:moveTo>
                <a:lnTo>
                  <a:pt x="503237" y="0"/>
                </a:lnTo>
                <a:lnTo>
                  <a:pt x="503237" y="57150"/>
                </a:lnTo>
                <a:lnTo>
                  <a:pt x="0" y="19208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C7742CF9-68D2-174E-9743-C6E0055433E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192713" y="590550"/>
            <a:ext cx="503238" cy="134939"/>
          </a:xfrm>
          <a:custGeom>
            <a:avLst/>
            <a:gdLst/>
            <a:ahLst/>
            <a:cxnLst/>
            <a:rect l="0" t="0" r="0" b="0"/>
            <a:pathLst>
              <a:path w="503238" h="134939">
                <a:moveTo>
                  <a:pt x="0" y="134938"/>
                </a:moveTo>
                <a:lnTo>
                  <a:pt x="5032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79FAD7E2-DA7D-FD47-B63B-A8A96939B1D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192713" y="533400"/>
            <a:ext cx="503238" cy="134939"/>
          </a:xfrm>
          <a:custGeom>
            <a:avLst/>
            <a:gdLst/>
            <a:ahLst/>
            <a:cxnLst/>
            <a:rect l="0" t="0" r="0" b="0"/>
            <a:pathLst>
              <a:path w="503238" h="134939">
                <a:moveTo>
                  <a:pt x="0" y="134938"/>
                </a:moveTo>
                <a:lnTo>
                  <a:pt x="5032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9E7C7EAD-7D0C-3D47-BA8B-FF2BD9569CC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1687175" y="1704975"/>
            <a:ext cx="300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0C53615-3C76-4720-A770-CA1EC3161E0D}" type="datetime'''t''''''''''''''''''''ot''''''''a''''''''''''''''''l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5EA6AA6-B2C3-BA4F-949B-FE0722E0847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0937875" y="1704975"/>
            <a:ext cx="3746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0810222-58BE-4F22-BC6F-360D874D823F}" type="datetime'''P''a√''''≠''''''s'' V''''''a''''''''sc''''''o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a√≠s Vasco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DCCB65F1-745B-A245-8C50-839352780EC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15900" y="1704975"/>
            <a:ext cx="51276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648BD11-BF6F-435B-9F1A-64B98BFA396C}" type="datetime'''''''''A''''''''n''''''''d''''''''a''l''uc''√≠''''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ndaluc√≠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9330662-0E23-8340-923D-111AA2917E0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130800" y="1704975"/>
            <a:ext cx="6270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92FB51-5820-4B36-8894-34500FEE7BC6}" type="datetime'''Ca''''''t''a''''''''lu''''''''√''''±a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talu√±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CA40209-8A26-1248-95CA-FF721B61D07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0167938" y="1704975"/>
            <a:ext cx="4953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F1DE2B-B9B8-42FD-AAFF-2835F281CA74}" type="datetime'''''''N''''''''''a''v''''''''''''''''''ar''r''a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avarr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094A843-BDD6-9F43-919B-2908CABF2D7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8039100" y="1704975"/>
            <a:ext cx="4921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54D107-7783-4D5C-9AA2-5CFE8457BA25}" type="datetime'''''La'' ''R''io''''''''''''''''''j''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 Rioj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0F5A36A-F367-0F41-B390-0A39DD8A0C3A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361238" y="1704975"/>
            <a:ext cx="4254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8E63B43-6101-436B-AB43-14286C878085}" type="datetime'''''''G''''''''''''al''''i''''''''''''''''''''''''''''''c''i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alic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C837472-E0FE-6C4F-ADBB-49B3D9E63E3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461125" y="1704975"/>
            <a:ext cx="808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E9CF83-E615-4357-919E-43BB926D5283}" type="datetime'''E''''''''''''x''t''''''re''m''''a''d''''''''''u''''r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tremadur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018002FF-5478-4048-94D5-E62F271A57D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332038" y="1704975"/>
            <a:ext cx="5397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A9D529-262B-47E8-85AD-C2AEAABFF973}" type="datetime'B''''''''''''''''''''''''''''''al''''e''ar''''''''e''s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aleare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6C130F6-328D-4D46-BD7F-14B3C30D894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9482138" y="1704975"/>
            <a:ext cx="4460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80A2C3C-4407-49CD-B64A-6917CCEAB227}" type="datetime'M''ur''c''''ia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urc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68DC5363-33C1-5040-861B-13B3CD36FA3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246688" y="315913"/>
            <a:ext cx="3937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198914-3074-443C-9D22-0703262756C9}" type="datetime'''''''''''''''''''''''''''''3''''''''''''''''9'''',''46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9,4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FBBE6A2-F3A4-BF43-BE26-4E91A28513E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764588" y="1704975"/>
            <a:ext cx="4619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CB7D608-2E0C-45BA-8DA7-5929162AC98A}" type="datetime'''''''Ma''d''''''''''''''''r''''''''''i''''''''''''''''d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drid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3E8E32AF-585B-094E-82F5-BCE2DC914D3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4414838" y="1704975"/>
            <a:ext cx="636588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2E7A37-39E0-4292-99EF-BF5C2697EE38}" type="datetime'''C''a''s''ti''lla''-L''''''a'' M''a''n''''''''''''c''''h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stilla-La Manch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4DF0DC7E-0144-ED48-B2E8-81913ED0D41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5792788" y="1704975"/>
            <a:ext cx="72231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4358BFF-DA8F-4310-86E5-92A02E52F397}" type="datetime'''C''o''''m''u''ni''''''''''da''d ''V''''''alen''c''ia''n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unidad Valencian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04C7C8BE-40B6-F64E-B328-1DC9C4EB7E1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3779838" y="1704975"/>
            <a:ext cx="48736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2A219D-EC71-434E-82C0-4C9A3B372A4B}" type="datetime'''''C''''a''''st''i''''ll''''''a'' ''y ''''''L''e√≥''''n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stilla y Le√≥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06C9BD05-AD87-B543-A0FE-9748B246A011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3009900" y="1704975"/>
            <a:ext cx="6064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CC2280-6093-4115-A594-3550763EC67A}" type="datetime'''''Ca''''''nt''''''''''''''''''abri''''''''a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ntabr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E5672E62-E22F-0A4A-80E9-ADF4D7C9C15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1636713" y="1704975"/>
            <a:ext cx="5111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51692A-740B-44AE-93BC-CECA3E043BD0}" type="datetime'''''''A''''''''s''''''t''ur''''ia''s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sturia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C7161083-F6C8-E941-8766-1943FC6193D5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17575" y="1704975"/>
            <a:ext cx="5270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37FCF7-DC23-47A1-B4EE-4073C5E0824D}" type="datetime'A''''r''''ag''''''''√''''''≥''''''n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rag√≥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06CBCF09-DFD5-264F-AB34-FB9DAF5981D9}"/>
              </a:ext>
            </a:extLst>
          </p:cNvPr>
          <p:cNvSpPr txBox="1"/>
          <p:nvPr/>
        </p:nvSpPr>
        <p:spPr>
          <a:xfrm>
            <a:off x="198439" y="136525"/>
            <a:ext cx="6169025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 Man-1 Regions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B7222671-FFEB-DD47-89F2-F5576DBAAE3F}"/>
              </a:ext>
            </a:extLst>
          </p:cNvPr>
          <p:cNvGraphicFramePr/>
          <p:nvPr>
            <p:custDataLst>
              <p:tags r:id="rId26"/>
            </p:custDataLst>
          </p:nvPr>
        </p:nvGraphicFramePr>
        <p:xfrm>
          <a:off x="-19050" y="2774950"/>
          <a:ext cx="12293600" cy="144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 useBgFill="1">
        <p:nvSpPr>
          <p:cNvPr id="8" name="Freeform 7">
            <a:extLst>
              <a:ext uri="{FF2B5EF4-FFF2-40B4-BE49-F238E27FC236}">
                <a16:creationId xmlns:a16="http://schemas.microsoft.com/office/drawing/2014/main" id="{1476BB07-375E-3741-B1A5-C6B69688F01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442450" y="2882900"/>
            <a:ext cx="504826" cy="193676"/>
          </a:xfrm>
          <a:custGeom>
            <a:avLst/>
            <a:gdLst/>
            <a:ahLst/>
            <a:cxnLst/>
            <a:rect l="0" t="0" r="0" b="0"/>
            <a:pathLst>
              <a:path w="504826" h="193676">
                <a:moveTo>
                  <a:pt x="0" y="136525"/>
                </a:moveTo>
                <a:lnTo>
                  <a:pt x="504825" y="0"/>
                </a:lnTo>
                <a:lnTo>
                  <a:pt x="504825" y="57150"/>
                </a:lnTo>
                <a:lnTo>
                  <a:pt x="0" y="1936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F2C94D5-5EEB-3A41-9352-4BDE94909C2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442450" y="2940050"/>
            <a:ext cx="504826" cy="136526"/>
          </a:xfrm>
          <a:custGeom>
            <a:avLst/>
            <a:gdLst/>
            <a:ahLst/>
            <a:cxnLst/>
            <a:rect l="0" t="0" r="0" b="0"/>
            <a:pathLst>
              <a:path w="504826" h="136526">
                <a:moveTo>
                  <a:pt x="0" y="136525"/>
                </a:moveTo>
                <a:lnTo>
                  <a:pt x="5048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3F2B4F27-6854-BE4C-81A7-86F053A70C2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9442450" y="2882900"/>
            <a:ext cx="504826" cy="136526"/>
          </a:xfrm>
          <a:custGeom>
            <a:avLst/>
            <a:gdLst/>
            <a:ahLst/>
            <a:cxnLst/>
            <a:rect l="0" t="0" r="0" b="0"/>
            <a:pathLst>
              <a:path w="504826" h="136526">
                <a:moveTo>
                  <a:pt x="0" y="136525"/>
                </a:moveTo>
                <a:lnTo>
                  <a:pt x="5048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7" name="Text Placeholder 2">
            <a:extLst>
              <a:ext uri="{FF2B5EF4-FFF2-40B4-BE49-F238E27FC236}">
                <a16:creationId xmlns:a16="http://schemas.microsoft.com/office/drawing/2014/main" id="{095EE493-E58D-9346-BBEF-0423AD4DBDF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3743325" y="4246563"/>
            <a:ext cx="48736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51A3B16-6CBE-41E5-B7DF-CF71EFD3E241}" type="datetime'Ca''s''''''''''''''''t''i''l''la ''y'' ''L''''''e''''√''≥''n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stilla y Le√≥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1" name="Text Placeholder 2">
            <a:extLst>
              <a:ext uri="{FF2B5EF4-FFF2-40B4-BE49-F238E27FC236}">
                <a16:creationId xmlns:a16="http://schemas.microsoft.com/office/drawing/2014/main" id="{0F1DC2A4-2ECC-1843-A173-80C74EB1D8F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472613" y="4246563"/>
            <a:ext cx="4460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E03058-D2E1-45FE-9792-BED631F70C16}" type="datetime'''''M''''''''urci''''''''''''''''''''''''''''''''''''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urc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2" name="Text Placeholder 2">
            <a:extLst>
              <a:ext uri="{FF2B5EF4-FFF2-40B4-BE49-F238E27FC236}">
                <a16:creationId xmlns:a16="http://schemas.microsoft.com/office/drawing/2014/main" id="{CC897806-1884-2B46-95F4-CE534A0EB5DC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8750300" y="4246563"/>
            <a:ext cx="4619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0A37677-30EC-446D-A4D0-0F11C3EE4B42}" type="datetime'''''''''M''''''''a''''''''d''''r''''''''''''id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drid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0" name="Text Placeholder 2">
            <a:extLst>
              <a:ext uri="{FF2B5EF4-FFF2-40B4-BE49-F238E27FC236}">
                <a16:creationId xmlns:a16="http://schemas.microsoft.com/office/drawing/2014/main" id="{BB18C102-E63E-C041-92D3-0DC3FAF94E5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6437313" y="4246563"/>
            <a:ext cx="808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590F6E-92E6-4C10-BEB9-953B43409FF8}" type="datetime'''Ex''''''''''tr''''e''m''a''''''''''''dur''''''a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tremadur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7" name="Text Placeholder 2">
            <a:extLst>
              <a:ext uri="{FF2B5EF4-FFF2-40B4-BE49-F238E27FC236}">
                <a16:creationId xmlns:a16="http://schemas.microsoft.com/office/drawing/2014/main" id="{9430E9A0-D1C0-BB46-8D76-0143B5674D2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11685588" y="4246563"/>
            <a:ext cx="300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49F0492-63A3-45B7-8057-BED21CD02D68}" type="datetime'''''''''''''''''''''t''''''o''''''''''''''''''''ta''l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5" name="Text Placeholder 2">
            <a:extLst>
              <a:ext uri="{FF2B5EF4-FFF2-40B4-BE49-F238E27FC236}">
                <a16:creationId xmlns:a16="http://schemas.microsoft.com/office/drawing/2014/main" id="{585BB651-A222-494A-B316-1E1B5900D8B8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8021638" y="4246563"/>
            <a:ext cx="4921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2EC578-87AF-4619-9056-6574A9BCD565}" type="datetime'''''''''L''''a'' ''''''R''''''''''''''''''i''''''o''j''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 Rioj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5" name="Text Placeholder 2">
            <a:extLst>
              <a:ext uri="{FF2B5EF4-FFF2-40B4-BE49-F238E27FC236}">
                <a16:creationId xmlns:a16="http://schemas.microsoft.com/office/drawing/2014/main" id="{BCC1C04B-0E0D-0A4A-A55A-56D58C307EC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69950" y="4246563"/>
            <a:ext cx="5270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636E31-7D17-4AAF-8B46-CE0581142083}" type="datetime'''''''A''''''''''''''ra''''''''''''''''''g√''''''''''≥n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rag√≥n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3" name="Text Placeholder 2">
            <a:extLst>
              <a:ext uri="{FF2B5EF4-FFF2-40B4-BE49-F238E27FC236}">
                <a16:creationId xmlns:a16="http://schemas.microsoft.com/office/drawing/2014/main" id="{B78629DE-4F4D-924E-B9F7-8AF248F2F587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10934700" y="4246563"/>
            <a:ext cx="3746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BCE03E5-AE54-43F1-8BF2-C10291702E0F}" type="datetime'''''''''''P''''''a''''''√''''''''''≠''s V''as''''''''co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a√≠s Vasco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3" name="Text Placeholder 2">
            <a:extLst>
              <a:ext uri="{FF2B5EF4-FFF2-40B4-BE49-F238E27FC236}">
                <a16:creationId xmlns:a16="http://schemas.microsoft.com/office/drawing/2014/main" id="{468C03E2-A148-B64B-B547-7466197DF262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9537701" y="2667000"/>
            <a:ext cx="3159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FC6FB2-6764-4F79-BBA4-2293C9B74813}" type="datetime'5'''''''''''''''''',''''3''''3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,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9" name="Text Placeholder 2">
            <a:extLst>
              <a:ext uri="{FF2B5EF4-FFF2-40B4-BE49-F238E27FC236}">
                <a16:creationId xmlns:a16="http://schemas.microsoft.com/office/drawing/2014/main" id="{354899F8-BB6F-D941-A8DA-36431A9DE987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4383088" y="4246563"/>
            <a:ext cx="636588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3EBC13-9C86-45C9-BE7F-36A74272CFB6}" type="datetime'Ca''''''sti''l''l''''a''''''-La'' ''M''''''anc''''ha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stilla-La Manch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1" name="Text Placeholder 2">
            <a:extLst>
              <a:ext uri="{FF2B5EF4-FFF2-40B4-BE49-F238E27FC236}">
                <a16:creationId xmlns:a16="http://schemas.microsoft.com/office/drawing/2014/main" id="{A77BA5AC-A571-1F49-B682-E9AD66DAD85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2290763" y="4246563"/>
            <a:ext cx="5397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32CB4F5-858D-41E4-A08E-C081AA51C968}" type="datetime'''Ba''le''''''a''''''''''''''re''''''''''s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aleare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18" name="Text Placeholder 2">
            <a:extLst>
              <a:ext uri="{FF2B5EF4-FFF2-40B4-BE49-F238E27FC236}">
                <a16:creationId xmlns:a16="http://schemas.microsoft.com/office/drawing/2014/main" id="{128C3F40-C24A-9E4B-8B85-FD5C37B5C3DC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10160000" y="4246563"/>
            <a:ext cx="4953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41402CE-ED7C-4B78-A307-78EFE323D806}" type="datetime'''''''''''Na''''''''''va''''''''''''''r''r''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avarr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19" name="Text Placeholder 2">
            <a:extLst>
              <a:ext uri="{FF2B5EF4-FFF2-40B4-BE49-F238E27FC236}">
                <a16:creationId xmlns:a16="http://schemas.microsoft.com/office/drawing/2014/main" id="{7926115D-1D3A-F947-917F-E35C3041E94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2970213" y="4246563"/>
            <a:ext cx="6064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E3C1D8-F408-4804-8ACF-326BE814B43D}" type="datetime'''''C''''''''''a''n''ta''''''bri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ntabr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13" name="Text Placeholder 2">
            <a:extLst>
              <a:ext uri="{FF2B5EF4-FFF2-40B4-BE49-F238E27FC236}">
                <a16:creationId xmlns:a16="http://schemas.microsoft.com/office/drawing/2014/main" id="{301A6FE8-BAC8-5F48-951C-CDFFE0427391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1590675" y="4246563"/>
            <a:ext cx="5111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1C8CE5-C32A-4EEF-975D-DC6AC4F89A96}" type="datetime'''''''''''''''''As''''''''tu''''''''''ri''''''''a''s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sturia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9" name="Text Placeholder 2">
            <a:extLst>
              <a:ext uri="{FF2B5EF4-FFF2-40B4-BE49-F238E27FC236}">
                <a16:creationId xmlns:a16="http://schemas.microsoft.com/office/drawing/2014/main" id="{5C85D4A4-54A6-E84D-BA3C-169EFB93708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5100638" y="4246563"/>
            <a:ext cx="6270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D4F5BE-BFE7-4E86-90F0-4B48A32A4CBD}" type="datetime'Ca''t''a''''l''u''''''''''√''''''''''''''''''''''''±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atalu√±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0" name="Text Placeholder 2">
            <a:extLst>
              <a:ext uri="{FF2B5EF4-FFF2-40B4-BE49-F238E27FC236}">
                <a16:creationId xmlns:a16="http://schemas.microsoft.com/office/drawing/2014/main" id="{85FA3B13-EA9B-8449-B007-3BCC3CD6D30B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163513" y="4246563"/>
            <a:ext cx="51276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B6817-4812-4C0E-8233-4B0C837D8FA9}" type="datetime'''''''''''''''''A''n''''da''''''l''''u''''c''''√''''≠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ndaluc√≠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8" name="Text Placeholder 2">
            <a:extLst>
              <a:ext uri="{FF2B5EF4-FFF2-40B4-BE49-F238E27FC236}">
                <a16:creationId xmlns:a16="http://schemas.microsoft.com/office/drawing/2014/main" id="{F5D318B1-54D8-9C4E-A6A5-55969A244CC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7342188" y="4246563"/>
            <a:ext cx="4254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E4E5D74-1E0C-4B9E-899C-956FE71FA04D}" type="datetime'''G''''al''''''''''''i''''''c''''''i''a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alic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04" name="Text Placeholder 2">
            <a:extLst>
              <a:ext uri="{FF2B5EF4-FFF2-40B4-BE49-F238E27FC236}">
                <a16:creationId xmlns:a16="http://schemas.microsoft.com/office/drawing/2014/main" id="{4E78BA21-B79B-E74E-95CE-3914A48CE990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5767388" y="4246563"/>
            <a:ext cx="72231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DBA403-205A-4A55-A045-96459F4F864D}" type="datetime'''C''''o''mu''n''idad ''V''''''''''''''al''e''''n''''''cian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unidad Valencian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6" name="TextBox 825">
            <a:extLst>
              <a:ext uri="{FF2B5EF4-FFF2-40B4-BE49-F238E27FC236}">
                <a16:creationId xmlns:a16="http://schemas.microsoft.com/office/drawing/2014/main" id="{83DC92D1-2990-624D-BA2F-2BF7F83CF428}"/>
              </a:ext>
            </a:extLst>
          </p:cNvPr>
          <p:cNvSpPr txBox="1"/>
          <p:nvPr/>
        </p:nvSpPr>
        <p:spPr>
          <a:xfrm>
            <a:off x="144463" y="2487613"/>
            <a:ext cx="6169025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evolution  Man-1</a:t>
            </a:r>
          </a:p>
        </p:txBody>
      </p:sp>
    </p:spTree>
    <p:extLst>
      <p:ext uri="{BB962C8B-B14F-4D97-AF65-F5344CB8AC3E}">
        <p14:creationId xmlns:p14="http://schemas.microsoft.com/office/powerpoint/2010/main" val="27015308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26" imgW="7772400" imgH="10058400" progId="TCLayout.ActiveDocument.1">
                  <p:embed/>
                </p:oleObj>
              </mc:Choice>
              <mc:Fallback>
                <p:oleObj name="think-cell Slide" r:id="rId26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478A92DE-07AF-7A42-B6BB-21E12B65CDE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69900" y="866775"/>
          <a:ext cx="11804650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AD250062-1C98-B74E-9FAF-A21BA02CC4D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513888" y="2052638"/>
            <a:ext cx="366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0E9F093-CBED-4AA5-8AB7-DA13C4651F3F}" type="datetime'''''''''''''''''''''0'''''''''',''''''''0''1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,0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6DF3A6E-D850-6542-9B78-6A8A1F283B7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452938" y="232886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0366EA-A629-4BCB-ABEF-D55C7E3EBCA6}" type="datetime'''''''''''''33''''''''0''''''''''''''''''M''''''''''L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C396C127-5230-4348-BC16-0DCF95BA62C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440863" y="232886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02642C2-AA96-4AE6-A738-409B97946153}" type="datetime'''''''''7''''''''''''''5''''''''0''''''''''M''L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39DB8373-BBFE-934C-8313-D1484D56FB5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7778750" y="232886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F6451D-D880-4A1B-B482-E1EA7DDF30A5}" type="datetime'''''''''''''''6''6''''''''0''''''''M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6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458B0D2A-D46A-194A-AC59-31D19A198D9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082675" y="2328863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0E2D15-338E-47D6-88E6-A96BB13CBD60}" type="datetime'''''''''1''''''''''''0''0''0''''''''''M''''L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9A3C4647-1DD7-774F-8547-6FACFAB27F1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6115050" y="232886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3200A4-18C6-44A0-AF63-87ECA31F8436}" type="datetime'''''''''''''''''5''''''0''''''''''0''M''''''L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8567C97-CAC0-A048-9EA4-42F75C2CD3D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2789238" y="2328863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78CB9F-AE78-4325-BAF2-646095A244FC}" type="datetime'''25''''''''''0''''''''''''M''''''''''''''''''''''''''L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79F4991A-C30C-4B45-B2DC-173855BEB25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1185525" y="2328863"/>
            <a:ext cx="350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E693EFD-9812-4632-A397-85C99EB2F1AC}" type="datetime'''''t''''''''ota''l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06CBCF09-DFD5-264F-AB34-FB9DAF5981D9}"/>
              </a:ext>
            </a:extLst>
          </p:cNvPr>
          <p:cNvSpPr txBox="1"/>
          <p:nvPr/>
        </p:nvSpPr>
        <p:spPr>
          <a:xfrm>
            <a:off x="198439" y="136525"/>
            <a:ext cx="6169025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 Man-1 Packages</a:t>
            </a:r>
          </a:p>
        </p:txBody>
      </p:sp>
      <p:sp>
        <p:nvSpPr>
          <p:cNvPr id="826" name="TextBox 825">
            <a:extLst>
              <a:ext uri="{FF2B5EF4-FFF2-40B4-BE49-F238E27FC236}">
                <a16:creationId xmlns:a16="http://schemas.microsoft.com/office/drawing/2014/main" id="{83DC92D1-2990-624D-BA2F-2BF7F83CF428}"/>
              </a:ext>
            </a:extLst>
          </p:cNvPr>
          <p:cNvSpPr txBox="1"/>
          <p:nvPr/>
        </p:nvSpPr>
        <p:spPr>
          <a:xfrm>
            <a:off x="144463" y="2487613"/>
            <a:ext cx="6169025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evolution  Man-1</a:t>
            </a:r>
          </a:p>
        </p:txBody>
      </p:sp>
      <p:sp>
        <p:nvSpPr>
          <p:cNvPr id="2043" name="Rectangle 2042">
            <a:extLst>
              <a:ext uri="{FF2B5EF4-FFF2-40B4-BE49-F238E27FC236}">
                <a16:creationId xmlns:a16="http://schemas.microsoft.com/office/drawing/2014/main" id="{15B53721-1890-E146-811C-012C96BD931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2192000" y="11985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A40DA91F-5B6C-7548-9186-6C9B3BE556C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2493626" y="1193800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23146CE-7CA6-4AFD-A566-FA4BB96F2FE4}" type="datetime'S''''e''''''''''ri''''''''''''e''''s'' ''''''''''''''''''1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ries 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F7B0ABAA-FE42-EC49-81C0-F87B5756A403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257175" y="3103563"/>
          <a:ext cx="12017375" cy="1647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6E637CF2-A1A4-B642-B2DC-C18D17F1809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85825" y="4783138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C07545-02D8-4240-81A8-09EC99AED5AE}" type="datetime'1''''''''''''''''0''''''''''''0''''''0M''''''''''L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966FBF70-8B72-A54F-9F7B-68107B872E1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1169650" y="4783138"/>
            <a:ext cx="350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5D5F48-469E-460A-8822-ED64FC89C0DA}" type="datetime'''''t''''''''o''''''''''''''''''''t''a''''''''''''l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E29C8395-3C1A-CE47-BF94-A86772B219B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702550" y="4783138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C7D640-5C2A-4247-B0E3-6BEFF1A0CFB0}" type="datetime'6''6''''''''''''''0M''''''''''''''''''''L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6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19239663-3AEA-CF4B-9298-061A97FEE1E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6008688" y="4783138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74C63B-13AE-41E9-A166-A9AC71151163}" type="datetime'''5''''0''''''''''''''''''''''''''0M''''''''''L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C1F2629B-94D6-FD4E-A00D-526F9179F7D2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4316413" y="4783138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0A48CA0-BA74-40CA-9E1C-3B0285AF702E}" type="datetime'''''''''''''''''''''33''''''0''''''''''M''''''''L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42093056-9C0D-3F48-8527-20527D7832F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9394825" y="4783138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0C3E23-4795-4A68-9704-7C6217058753}" type="datetime'''''''''''''''''''''7''5''''''''''''''''''''0M''''''''''L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2081B7AE-8AB3-C246-B3FC-F9F17985861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622550" y="4783138"/>
            <a:ext cx="511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98B938-0D65-4051-B180-D6F07CE3C770}" type="datetime'2''''5''''''''''''''''''''''''''0''''M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M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BAC262E0-0303-684C-8222-15017A8FD3B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2192000" y="3435350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6D7915AE-D2E1-9243-A567-B4D80090F164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12493625" y="3430588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049CC3-61DC-40EC-A047-B4DA163E3736}" type="datetime'''''''''''''''S''e''r''''''''i''''''''''''''es ''''''''''1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ries 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29697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497C83D-1F94-4941-BD65-144B5682F514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384300" y="866775"/>
          <a:ext cx="7627938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6DF3A6E-D850-6542-9B78-6A8A1F283B7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240338" y="2328863"/>
            <a:ext cx="1782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2B1A2B-8949-4006-854B-5AFD645FEBE5}" type="datetime'''M''AN'' ''''''''''''1'''' -'' ''OTH''''''E''R'' BRAN''''DS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OTHER BRAND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9A3C4647-1DD7-774F-8547-6FACFAB27F1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821613" y="2328863"/>
            <a:ext cx="350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7997EB-B3D6-468D-9679-5FEE07399325}" type="datetime'''''''''''''''''t''''o''t''''''''a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8567C97-CAC0-A048-9EA4-42F75C2CD3D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617913" y="2328863"/>
            <a:ext cx="1296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EA0498-F85B-4002-B5E3-BBD709985E06}" type="datetime'''MA''N'''' 1 -'' ''B''''''RA''''''''''''''N''''''''''''D ''2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458B0D2A-D46A-194A-AC59-31D19A198D9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751013" y="2328863"/>
            <a:ext cx="1296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3F28BDA-8CA5-44A9-98B6-1A8561AEDC94}" type="datetime'''M''AN'''''''''' ''1'' -'' B''R''''A''N''''''D'''' ''''''1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06CBCF09-DFD5-264F-AB34-FB9DAF5981D9}"/>
              </a:ext>
            </a:extLst>
          </p:cNvPr>
          <p:cNvSpPr txBox="1"/>
          <p:nvPr/>
        </p:nvSpPr>
        <p:spPr>
          <a:xfrm>
            <a:off x="198439" y="136525"/>
            <a:ext cx="6169025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 Man-1 Brands</a:t>
            </a:r>
          </a:p>
        </p:txBody>
      </p:sp>
      <p:sp>
        <p:nvSpPr>
          <p:cNvPr id="826" name="TextBox 825">
            <a:extLst>
              <a:ext uri="{FF2B5EF4-FFF2-40B4-BE49-F238E27FC236}">
                <a16:creationId xmlns:a16="http://schemas.microsoft.com/office/drawing/2014/main" id="{83DC92D1-2990-624D-BA2F-2BF7F83CF428}"/>
              </a:ext>
            </a:extLst>
          </p:cNvPr>
          <p:cNvSpPr txBox="1"/>
          <p:nvPr/>
        </p:nvSpPr>
        <p:spPr>
          <a:xfrm>
            <a:off x="173038" y="2763044"/>
            <a:ext cx="6169025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evolution  Man-1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90B92F24-78C5-9D41-AC5C-77A1CF8F1465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1384300" y="3254375"/>
          <a:ext cx="7627938" cy="1647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36F568B0-9518-8849-AA7F-A1F7DE7215D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7821613" y="4933950"/>
            <a:ext cx="350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549251-B57B-4A9A-B894-BCDE0A9FAAF5}" type="datetime'''''''''t''o''ta''''''''''''''''''''''l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C82578A-2E47-104E-BCCC-68F8394B9A9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617913" y="4933950"/>
            <a:ext cx="1296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F20F3A8-8FC5-41D2-8990-A78D7F2ACA46}" type="datetime'MA''N'' 1 - ''B''''R''''A''''''ND'''''''''''' ''''2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87BE90E9-AE17-694D-B3E5-5FA34DF41325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751013" y="4933950"/>
            <a:ext cx="1296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05EA2A-E526-476C-961E-1C33D7C98E66}" type="datetime'''''''MA''''N ''1 -'''''''''' ''BRA''''''''''ND ''''1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BRAND 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EE6D1479-0F91-014A-903B-12C12DD9C93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240338" y="4933950"/>
            <a:ext cx="1782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9D8071-D79D-49AF-921E-AB45C9732989}" type="datetime'''MA''''N ''1'''''' ''-'''' O''THE''R B''''''''RA''N''D''S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 1 - OTHER BRAND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9000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45" imgW="7772400" imgH="10058400" progId="TCLayout.ActiveDocument.1">
                  <p:embed/>
                </p:oleObj>
              </mc:Choice>
              <mc:Fallback>
                <p:oleObj name="think-cell Slide" r:id="rId4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AEF9C6F-4738-6448-9D76-1022A90700B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00275" y="372586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2329F31-1998-974E-8704-EF367E00DD5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269538" y="28289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055B289-4058-C747-91AD-AF2D6FB9351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259888" y="294005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A1C5B23-6964-474B-9A13-177C38EE03F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251825" y="30194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E256659-BB01-3A4F-8A69-A8B078171BC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243763" y="147637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4CDDC1-BBC6-7C41-818C-6847A24665D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234113" y="139700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D996087-21CB-6E45-AB61-0363549FBDD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216400" y="396716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B95489C-54ED-D94A-97F0-C64B6E3D27B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208338" y="357028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3B64C2D-0ACB-6D46-B878-1F57D222F05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226050" y="218122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F354A89-F3F8-DA46-BC34-6E145158FC2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190625" y="374015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9" name="Chart 168">
            <a:extLst>
              <a:ext uri="{FF2B5EF4-FFF2-40B4-BE49-F238E27FC236}">
                <a16:creationId xmlns:a16="http://schemas.microsoft.com/office/drawing/2014/main" id="{BA00AD2F-C579-6546-9B7D-8372BAD78579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323850" y="1314450"/>
          <a:ext cx="11260138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 useBgFill="1">
        <p:nvSpPr>
          <p:cNvPr id="32" name="Freeform 31">
            <a:extLst>
              <a:ext uri="{FF2B5EF4-FFF2-40B4-BE49-F238E27FC236}">
                <a16:creationId xmlns:a16="http://schemas.microsoft.com/office/drawing/2014/main" id="{0611B0A5-908F-8747-9B05-B94BE050DDE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663238" y="3992563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8" h="236538">
                <a:moveTo>
                  <a:pt x="0" y="179387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9" name="Freeform 28">
            <a:extLst>
              <a:ext uri="{FF2B5EF4-FFF2-40B4-BE49-F238E27FC236}">
                <a16:creationId xmlns:a16="http://schemas.microsoft.com/office/drawing/2014/main" id="{FABF0AFB-0EA6-6240-B86E-F7E2ABA5E76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76263" y="3992563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8" h="236538">
                <a:moveTo>
                  <a:pt x="0" y="179387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1CE42E80-6159-3649-82D4-FDDB7824862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76263" y="399256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723FF326-49C2-D248-B47F-7D56360183C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76263" y="404971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E120472B-7BB7-9242-8F50-3E4E04599F0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663238" y="404971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40F149E6-9CDF-BC47-B45C-AEA1440EFEA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663238" y="399256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BD983E89-FF1D-3F4A-9E41-8DCC48D070E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909638" y="1047751"/>
            <a:ext cx="0" cy="2436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686123F8-7A90-2D44-9B5F-16B1D45529A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909638" y="1047750"/>
            <a:ext cx="100869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D776BF0-9E48-F246-BAE0-2486FB7EBC7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996613" y="1047750"/>
            <a:ext cx="0" cy="1525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FB1BF7F1-1941-EE4A-812F-03EC1FDFD8A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496550" y="2611438"/>
            <a:ext cx="1000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A07FB0-06BB-41E1-A153-E0F6F4CA0EF7}" type="datetime'''11''''''''''''''''''''''7''''3''''92''3''''''7'''''',49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739237,4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C6F5636-A337-7344-B985-5A9C20E1E595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77838" y="3522663"/>
            <a:ext cx="8636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B80FE5-D346-4FB1-BCF8-F74C084BFB20}" type="datetime'''11''''.''7''''0''''''''''7''''''.9''''''''8''1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.707.98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A470E4F-C1E8-F54E-987F-AF93891CC71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22313" y="431323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1C3B18-5D38-4BDC-AF17-5D4131DEE5CB}" type="datetime'''''''''''''''''''''''2''''0''''''''1''''7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BCBB1B1-1D33-1C49-9478-ED07A8907BC5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809288" y="431323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AA22FA-0E0E-4B1B-9C7D-7764D32020D8}" type="datetime'''''''''2''''''''''''''''''01''''''''''''''8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6B86B25-66EF-D240-B435-09BAE16838C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637713" y="4313238"/>
            <a:ext cx="7032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62CD2D-2C42-4D3D-A214-1C96C1F60677}" type="datetime'''''Z''ER''''''O'''''''''''' A''''''LCOH''''O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ERO ALCOH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F876F07-F7BC-AB49-AF48-4441726A399A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3640138" y="4313238"/>
            <a:ext cx="592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751166-9B7A-4DFC-97CF-2DA81AB691EB}" type="datetime'''''C''EL''''''I''A''''''''''''''''''''''''C''''''''''S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ELIAC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DB6B7F6-5A06-1542-A82B-D78F1CFE219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593013" y="4313238"/>
            <a:ext cx="7572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09CD91A-C43B-454C-9966-BFCE582D9D48}" type="datetime'NA''T''''''''''''''''''''''''''''I''''''''O''N''''''A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ATION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D4FFA68-620E-9B44-9D10-4D393879793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6586538" y="4313238"/>
            <a:ext cx="7524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CEF983E-4060-4FCD-A9D9-E29F92DC8BC8}" type="datetime'I''''MPO''R''''''''''T ''P''''''''R''''E''''''MI''''''U''''M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MPORT PREMIUM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294595B-56DD-FC40-99E8-2EDC7F368D1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705350" y="4313238"/>
            <a:ext cx="479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A3173A-7FDD-4BEB-A709-10178CF1E052}" type="datetime'''''''''''''''''''E''''''''X''''''''T''R''''''''''A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TR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8AFCAE6-0107-DA4B-9728-1DF3C448146A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7670801" y="2152650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49835DB-C7D3-4E57-BF03-2913585BA61C}" type="datetime'''''-''''''''''5''''''''2''''''.9''''''''1''''''6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52.916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BA6673B-D678-D54A-BC74-EBE7F50D5A00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1758951" y="3636963"/>
            <a:ext cx="322263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9681926-DAAF-49FC-B99E-DD891CC2B17A}" type="datetime'''''''4''''''''''8''''''''''''''''''3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83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6D012A4-B248-FE44-8961-3DC23E564808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635375" y="3673475"/>
            <a:ext cx="601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85C729-9AC7-43DC-9825-9DE94434F7E0}" type="datetime'''''''''''-''''''''1''3''''.''''''''6''''1''''''''''''''1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3.61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26AE97D-813C-6F49-A762-604B2958B8D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612188" y="4313238"/>
            <a:ext cx="73342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4E2338-6CF2-4BC2-8422-CA17434896C5}" type="datetime'W''''''''''ITH''O''U''''''T'''''''''''' AL''COHO''''''''''L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WITHOUT ALCOH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DCCE6907-F610-6B4C-8B18-148E5176F328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6707188" y="1341438"/>
            <a:ext cx="511175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A6B7F97-EC4F-414D-952E-915701F958B1}" type="datetime'''''''''''''-''''2.''''''''''''''7''''2''''''3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.723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5E8D6E2-693A-3F4D-B224-1826DB87A25D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508625" y="4313238"/>
            <a:ext cx="8890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0E255C-3D35-47B4-9946-E81CFFDEBEA1}" type="datetime'''''''''F''''L''''A''VOU''''RED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LAVOURED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6FFDC20-149E-ED48-B8AE-3658D720424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2690813" y="4313238"/>
            <a:ext cx="473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6825334-4A66-4299-BC43-91A744ECE9AB}" type="datetime'''''''''''''''''''''B''''L''''''A''C''''''K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LACK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5E001918-A399-9E4B-B22F-5ADAFDB53B8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750300" y="2884488"/>
            <a:ext cx="457200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4217429-9257-4FA1-AEA9-CC3A6A1DC6A6}" type="datetime'''''''2.7''2''''''''''''''''''''''''''''7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.72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CB77D975-3BAB-3B4C-B10A-0D40A87BD441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9759950" y="2789238"/>
            <a:ext cx="457200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1D1FFA-1B15-420A-A845-A73D11CA9F78}" type="datetime'''''''''''''3''.7''''''''''''''''''9''''''7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797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B5893E2-25A4-224E-8B9B-30D6D1A27699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1558925" y="4313238"/>
            <a:ext cx="720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02600E-4CA7-4AB2-B8C4-3B4A7F0495F3}" type="datetime'''AR''''T''''''I''''''''S''''''''A''''''''''''''''''''''NS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RTISAN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642A035A-5015-264B-BFEE-2CA33338095C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5599113" y="776288"/>
            <a:ext cx="708025" cy="5445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B53BAD-54B0-4BB4-8CE4-D66FD0DC92E1}" type="datetime'''''''''''3''''''''''1''''''''''''.''2''''''''5''''''6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.256</a:t>
            </a:fld>
            <a:b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fld id="{8DF1C4BA-705D-4CDE-98A8-5A211EE6FAB8}" type="datetime'''''''0'''''''''',''''''''''''''''''''''''''''3''''''''''%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,3%</a:t>
            </a:fld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102" name="Rounded Rectangle 1101">
            <a:extLst>
              <a:ext uri="{FF2B5EF4-FFF2-40B4-BE49-F238E27FC236}">
                <a16:creationId xmlns:a16="http://schemas.microsoft.com/office/drawing/2014/main" id="{4E5344EF-A6C2-4347-9D86-FB9FB3CCDD30}"/>
              </a:ext>
            </a:extLst>
          </p:cNvPr>
          <p:cNvSpPr/>
          <p:nvPr/>
        </p:nvSpPr>
        <p:spPr>
          <a:xfrm>
            <a:off x="1558925" y="4859079"/>
            <a:ext cx="5780088" cy="125464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x</a:t>
            </a:r>
          </a:p>
        </p:txBody>
      </p:sp>
    </p:spTree>
    <p:extLst>
      <p:ext uri="{BB962C8B-B14F-4D97-AF65-F5344CB8AC3E}">
        <p14:creationId xmlns:p14="http://schemas.microsoft.com/office/powerpoint/2010/main" val="36973378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50" imgW="7772400" imgH="10058400" progId="TCLayout.ActiveDocument.1">
                  <p:embed/>
                </p:oleObj>
              </mc:Choice>
              <mc:Fallback>
                <p:oleObj name="think-cell Slide" r:id="rId50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D996087-21CB-6E45-AB61-0363549FBDD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216400" y="359886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4CDDC1-BBC6-7C41-818C-6847A24665D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234113" y="2743200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A1C5B23-6964-474B-9A13-177C38EE03F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251825" y="121761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F354A89-F3F8-DA46-BC34-6E145158FC2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190625" y="378777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3B64C2D-0ACB-6D46-B878-1F57D222F05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226050" y="291941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2329F31-1998-974E-8704-EF367E00DD5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269538" y="122237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B95489C-54ED-D94A-97F0-C64B6E3D27B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3208338" y="362108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AEF9C6F-4738-6448-9D76-1022A90700B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200275" y="3660775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055B289-4058-C747-91AD-AF2D6FB9351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259888" y="1217613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E256659-BB01-3A4F-8A69-A8B078171BC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243763" y="2751138"/>
            <a:ext cx="447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62E12D2-C956-B347-BF3A-71A7E9648B8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699500" y="1214438"/>
            <a:ext cx="560388" cy="6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3FED38-1861-6348-AB25-F087CEC5C5F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707563" y="1217613"/>
            <a:ext cx="561975" cy="4763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18F807-4358-3146-8300-1531B5335F0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681788" y="2743200"/>
            <a:ext cx="561975" cy="7938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66" name="Chart 265">
            <a:extLst>
              <a:ext uri="{FF2B5EF4-FFF2-40B4-BE49-F238E27FC236}">
                <a16:creationId xmlns:a16="http://schemas.microsoft.com/office/drawing/2014/main" id="{C7FE9E86-8F77-EF43-8740-D928DAADAA1E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323850" y="1135063"/>
          <a:ext cx="11260138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 useBgFill="1">
        <p:nvSpPr>
          <p:cNvPr id="16" name="Freeform 15">
            <a:extLst>
              <a:ext uri="{FF2B5EF4-FFF2-40B4-BE49-F238E27FC236}">
                <a16:creationId xmlns:a16="http://schemas.microsoft.com/office/drawing/2014/main" id="{DD832D51-08D5-CA4A-BB20-1F197EE87E8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663238" y="3814763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8" h="236539">
                <a:moveTo>
                  <a:pt x="0" y="179388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 12">
            <a:extLst>
              <a:ext uri="{FF2B5EF4-FFF2-40B4-BE49-F238E27FC236}">
                <a16:creationId xmlns:a16="http://schemas.microsoft.com/office/drawing/2014/main" id="{B9FBA059-686E-2F43-BBFF-2A50C90E527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76263" y="3814763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8" h="236539">
                <a:moveTo>
                  <a:pt x="0" y="179388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F23DF388-4233-FC4A-851A-13C93F9BCF9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663238" y="387191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9">
                <a:moveTo>
                  <a:pt x="0" y="179388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39D647CB-61BB-E04C-82CD-1B84CE6C968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76263" y="381476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9">
                <a:moveTo>
                  <a:pt x="0" y="179388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537FC933-3F6B-ED42-890F-5041DD6123F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576263" y="387191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9">
                <a:moveTo>
                  <a:pt x="0" y="179388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02755D44-EA99-8B4D-AEA1-32FECDB8AE7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663238" y="3814763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9">
                <a:moveTo>
                  <a:pt x="0" y="179388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BD983E89-FF1D-3F4A-9E41-8DCC48D070EF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909638" y="814388"/>
            <a:ext cx="0" cy="27178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686123F8-7A90-2D44-9B5F-16B1D45529A1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09638" y="814388"/>
            <a:ext cx="100869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D776BF0-9E48-F246-BAE0-2486FB7EBC7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0996613" y="8143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294595B-56DD-FC40-99E8-2EDC7F368D1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4705350" y="4133850"/>
            <a:ext cx="479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A3173A-7FDD-4BEB-A709-10178CF1E052}" type="datetime'''''''''''''''''''E''''''''X''''''''T''R''''''''''A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TR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26AE97D-813C-6F49-A762-604B2958B8D2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8612188" y="4133850"/>
            <a:ext cx="73342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4E2338-6CF2-4BC2-8422-CA17434896C5}" type="datetime'W''''''''''ITH''O''U''''''T'''''''''''' AL''COHO''''''''''L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WITHOUT ALCOH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DCCE6907-F610-6B4C-8B18-148E5176F328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6707188" y="2651125"/>
            <a:ext cx="511175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F69021-17A3-4BEF-B9C7-D5B88E7739F8}" type="datetime'''-''''''''''''''3''''''''''''''''''''.''''56''''''''''''4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3.564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6B86B25-66EF-D240-B435-09BAE16838C3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9637713" y="4133850"/>
            <a:ext cx="7032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62CD2D-2C42-4D3D-A214-1C96C1F60677}" type="datetime'''''Z''ER''''''O'''''''''''' A''''''LCOH''''O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ERO ALCOHO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5E001918-A399-9E4B-B22F-5ADAFDB53B8E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8818563" y="1122363"/>
            <a:ext cx="322263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97B3D01-A3EF-4509-93FC-F153A08A8125}" type="datetime'''''''''''''''1''''''''''''3''''''''''''''1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BA6673B-D678-D54A-BC74-EBE7F50D5A00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1646238" y="3629025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22BD7DF-AB77-4D1E-842F-19DC6232E4DB}" type="datetime'''''6''''''1''''''''''''''''.81''''''''''''''''''''8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1.81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6FFDC20-149E-ED48-B8AE-3658D7204249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2690813" y="4133850"/>
            <a:ext cx="473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6825334-4A66-4299-BC43-91A744ECE9AB}" type="datetime'''''''''''''''''''''B''''L''''''A''C''''''K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LACK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B5893E2-25A4-224E-8B9B-30D6D1A27699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1558925" y="4133850"/>
            <a:ext cx="720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02600E-4CA7-4AB2-B8C4-3B4A7F0495F3}" type="datetime'''AR''''T''''''I''''''''S''''''''A''''''''''''''''''''''NS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RTISAN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87757E4-2003-0549-874C-4F9E03ADB9D6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625975" y="3163888"/>
            <a:ext cx="638175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C8B04F-0C50-4CA0-9C6F-805C1851DCB8}" type="datetime'''3''''2''''''''''''''''''9''''.0''''''''0''1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29.001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8AFCAE6-0107-DA4B-9728-1DF3C448146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7651750" y="1889125"/>
            <a:ext cx="638175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D803BC0-E759-46B1-A82F-33794116E649}" type="datetime'''''''''74''3''''''''''''''.''''''''5''''''''10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43.510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C6F5636-A337-7344-B985-5A9C20E1E59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77838" y="3570288"/>
            <a:ext cx="8636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8CC8C5-94E7-45E6-977B-CB3BF8F56ABC}" type="datetime'11''.''7''''3''''''''''''9''''''''.''''''''''''2''3''7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.739.23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5E8D6E2-693A-3F4D-B224-1826DB87A25D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508625" y="4133850"/>
            <a:ext cx="8890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0E255C-3D35-47B4-9946-E81CFFDEBEA1}" type="datetime'''''''''F''''L''''A''VOU''''RED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LAVOURED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D4FFA68-620E-9B44-9D10-4D393879793A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6586538" y="4133850"/>
            <a:ext cx="7524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CEF983E-4060-4FCD-A9D9-E29F92DC8BC8}" type="datetime'I''''MPO''R''''''''''T ''P''''''''R''''E''''''MI''''''U''''M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MPORT PREMIUM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FB1BF7F1-1941-EE4A-812F-03EC1FDFD8A3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10609263" y="1004888"/>
            <a:ext cx="774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C5E6443-CA85-41F5-91CB-AB606884F87E}" type="datetime'''''1''''''''''''''''''''''2''9''8''''''''341''''1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9834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A470E4F-C1E8-F54E-987F-AF93891CC71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722313" y="413385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1C3B18-5D38-4BDC-AF17-5D4131DEE5CB}" type="datetime'''''''''''''''''''''''2''''0''''''''1''''7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DB6B7F6-5A06-1542-A82B-D78F1CFE2198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7593013" y="4133850"/>
            <a:ext cx="7572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09CD91A-C43B-454C-9966-BFCE582D9D48}" type="datetime'NA''T''''''''''''''''''''''''''''I''''''''O''N''''''A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ATION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786E165-1DA3-BC4D-8D00-4D5CFF12CEA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654300" y="3544888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1CAE86-EA35-4EFA-86F1-0D09B68721EB}" type="datetime'1''8.''''''''''''8''''''''''2''''3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8.823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BCBB1B1-1D33-1C49-9478-ED07A8907BC5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10809288" y="413385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AA22FA-0E0E-4B1B-9C7D-7764D32020D8}" type="datetime'''''''''2''''''''''''''''''01''''''''''''''8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F876F07-F7BC-AB49-AF48-4441726A399A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3640138" y="4133850"/>
            <a:ext cx="592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751166-9B7A-4DFC-97CF-2DA81AB691EB}" type="datetime'''''C''EL''''''I''A''''''''''''''''''''''''C''''''''''S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ELIACS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6D012A4-B248-FE44-8961-3DC23E564808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3662363" y="3514725"/>
            <a:ext cx="547688" cy="192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C2C802-611E-4226-A833-9CE29C32D679}" type="datetime'''''''11.''''''''''''''''''''''''''''''''''''''''''''''362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.362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B0FDB11-C3E2-644C-A801-0221B84E0B4F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732963" y="1123950"/>
            <a:ext cx="511175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62FD6A-C5AD-42D7-94A3-EA9A651A60D7}" type="datetime'-2.''''''3''58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.358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642A035A-5015-264B-BFEE-2CA33338095C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5437188" y="542925"/>
            <a:ext cx="1031875" cy="5445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B347FF-11B4-4905-8663-E208B7609995}" type="datetime'''''''''''''1''.''24''4''''''''.''1''''''7''''''''''4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244.174</a:t>
            </a:fld>
            <a:b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fld id="{0962EB2E-4AF0-42CE-B71A-4B670ABB7ABA}" type="datetime'''''''''''''''''9'',''6''''''''''''''''''''''''''''''%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,6%</a:t>
            </a:fld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70236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033618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 flipH="1">
            <a:off x="1588" y="1585384"/>
            <a:ext cx="12188825" cy="4229101"/>
          </a:xfrm>
          <a:prstGeom prst="rect">
            <a:avLst/>
          </a:prstGeom>
          <a:blipFill dpi="0" rotWithShape="1">
            <a:blip r:embed="rId3">
              <a:alphaModFix amt="75000"/>
            </a:blip>
            <a:srcRect/>
            <a:stretch>
              <a:fillRect t="-18071" b="-18071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AEF63E-AAF4-FE4D-9593-EA8377215DD2}"/>
              </a:ext>
            </a:extLst>
          </p:cNvPr>
          <p:cNvGrpSpPr/>
          <p:nvPr/>
        </p:nvGrpSpPr>
        <p:grpSpPr>
          <a:xfrm>
            <a:off x="1587" y="1"/>
            <a:ext cx="12188825" cy="6858000"/>
            <a:chOff x="-1" y="1"/>
            <a:chExt cx="24377650" cy="13715999"/>
          </a:xfrm>
        </p:grpSpPr>
        <p:sp>
          <p:nvSpPr>
            <p:cNvPr id="6" name="Rechteck 5"/>
            <p:cNvSpPr/>
            <p:nvPr/>
          </p:nvSpPr>
          <p:spPr>
            <a:xfrm>
              <a:off x="-1" y="1"/>
              <a:ext cx="24377650" cy="3170764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 dirty="0">
                <a:solidFill>
                  <a:srgbClr val="F8F8F8"/>
                </a:solidFill>
                <a:latin typeface="Calibri" panose="020F0502020204030204"/>
              </a:endParaRPr>
            </a:p>
          </p:txBody>
        </p:sp>
        <p:sp>
          <p:nvSpPr>
            <p:cNvPr id="16" name="Rechteck 5">
              <a:extLst>
                <a:ext uri="{FF2B5EF4-FFF2-40B4-BE49-F238E27FC236}">
                  <a16:creationId xmlns:a16="http://schemas.microsoft.com/office/drawing/2014/main" id="{A7649247-FA71-5947-B69F-6FEB8AE4221D}"/>
                </a:ext>
              </a:extLst>
            </p:cNvPr>
            <p:cNvSpPr/>
            <p:nvPr/>
          </p:nvSpPr>
          <p:spPr>
            <a:xfrm>
              <a:off x="-1" y="10545236"/>
              <a:ext cx="24377650" cy="3170764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 dirty="0">
                <a:solidFill>
                  <a:srgbClr val="F8F8F8"/>
                </a:solidFill>
                <a:latin typeface="Calibri" panose="020F0502020204030204"/>
              </a:endParaRPr>
            </a:p>
          </p:txBody>
        </p:sp>
      </p:grpSp>
      <p:sp>
        <p:nvSpPr>
          <p:cNvPr id="14" name="Rechteck 37">
            <a:extLst>
              <a:ext uri="{FF2B5EF4-FFF2-40B4-BE49-F238E27FC236}">
                <a16:creationId xmlns:a16="http://schemas.microsoft.com/office/drawing/2014/main" id="{793839AD-A145-734B-BAAB-079554943BD8}"/>
              </a:ext>
            </a:extLst>
          </p:cNvPr>
          <p:cNvSpPr/>
          <p:nvPr/>
        </p:nvSpPr>
        <p:spPr>
          <a:xfrm flipH="1">
            <a:off x="731746" y="1357614"/>
            <a:ext cx="10750642" cy="4684640"/>
          </a:xfrm>
          <a:prstGeom prst="rect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15" name="Textfeld 24">
            <a:extLst>
              <a:ext uri="{FF2B5EF4-FFF2-40B4-BE49-F238E27FC236}">
                <a16:creationId xmlns:a16="http://schemas.microsoft.com/office/drawing/2014/main" id="{F8070ACF-9B4E-F845-98CB-907AA8C17314}"/>
              </a:ext>
            </a:extLst>
          </p:cNvPr>
          <p:cNvSpPr txBox="1"/>
          <p:nvPr/>
        </p:nvSpPr>
        <p:spPr>
          <a:xfrm>
            <a:off x="3201987" y="363646"/>
            <a:ext cx="58077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600"/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What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Customers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Think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endParaRPr lang="de-DE" sz="3000" b="1" dirty="0">
              <a:solidFill>
                <a:srgbClr val="212C33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77B328-7D5C-7B42-8A78-3121289CFE9B}"/>
              </a:ext>
            </a:extLst>
          </p:cNvPr>
          <p:cNvGrpSpPr/>
          <p:nvPr/>
        </p:nvGrpSpPr>
        <p:grpSpPr>
          <a:xfrm>
            <a:off x="1629604" y="1585383"/>
            <a:ext cx="2412218" cy="4229101"/>
            <a:chOff x="3256032" y="3170766"/>
            <a:chExt cx="4824435" cy="8458202"/>
          </a:xfrm>
        </p:grpSpPr>
        <p:sp>
          <p:nvSpPr>
            <p:cNvPr id="13" name="Rechteck 25">
              <a:extLst>
                <a:ext uri="{FF2B5EF4-FFF2-40B4-BE49-F238E27FC236}">
                  <a16:creationId xmlns:a16="http://schemas.microsoft.com/office/drawing/2014/main" id="{098B4408-B150-0D40-B822-55A784E49D05}"/>
                </a:ext>
              </a:extLst>
            </p:cNvPr>
            <p:cNvSpPr/>
            <p:nvPr/>
          </p:nvSpPr>
          <p:spPr>
            <a:xfrm>
              <a:off x="3256032" y="3170766"/>
              <a:ext cx="4824435" cy="845820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alpha val="10000"/>
                    <a:lumMod val="0"/>
                    <a:lumOff val="100000"/>
                  </a:schemeClr>
                </a:gs>
                <a:gs pos="25000">
                  <a:schemeClr val="accent1">
                    <a:alpha val="10000"/>
                    <a:lumMod val="0"/>
                    <a:lumOff val="100000"/>
                  </a:schemeClr>
                </a:gs>
                <a:gs pos="77000">
                  <a:srgbClr val="FFC000"/>
                </a:gs>
              </a:gsLst>
              <a:lin ang="5400000" scaled="0"/>
              <a:tileRect/>
            </a:gradFill>
            <a:ln>
              <a:noFill/>
            </a:ln>
            <a:effectLst>
              <a:outerShdw blurRad="762000" dist="508000" dir="81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 dirty="0">
                <a:solidFill>
                  <a:srgbClr val="F8F8F8"/>
                </a:solidFill>
                <a:latin typeface="Calibri" panose="020F0502020204030204"/>
              </a:endParaRPr>
            </a:p>
          </p:txBody>
        </p:sp>
        <p:sp>
          <p:nvSpPr>
            <p:cNvPr id="20" name="Textfeld 24">
              <a:extLst>
                <a:ext uri="{FF2B5EF4-FFF2-40B4-BE49-F238E27FC236}">
                  <a16:creationId xmlns:a16="http://schemas.microsoft.com/office/drawing/2014/main" id="{60D168D4-E436-D841-8216-51E18A0C8090}"/>
                </a:ext>
              </a:extLst>
            </p:cNvPr>
            <p:cNvSpPr txBox="1"/>
            <p:nvPr/>
          </p:nvSpPr>
          <p:spPr>
            <a:xfrm>
              <a:off x="3815882" y="7360606"/>
              <a:ext cx="3704733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28600"/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here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are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enough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brands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in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he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market</a:t>
              </a:r>
              <a:endParaRPr lang="de-DE" sz="1500" b="1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5BF23C5-4B86-2843-9ACF-7A00A6238A3B}"/>
              </a:ext>
            </a:extLst>
          </p:cNvPr>
          <p:cNvGrpSpPr/>
          <p:nvPr/>
        </p:nvGrpSpPr>
        <p:grpSpPr>
          <a:xfrm>
            <a:off x="8191500" y="1585383"/>
            <a:ext cx="2412218" cy="4229101"/>
            <a:chOff x="16379825" y="3170766"/>
            <a:chExt cx="4824435" cy="8458202"/>
          </a:xfrm>
        </p:grpSpPr>
        <p:sp>
          <p:nvSpPr>
            <p:cNvPr id="26" name="Rechteck 25"/>
            <p:cNvSpPr/>
            <p:nvPr/>
          </p:nvSpPr>
          <p:spPr>
            <a:xfrm>
              <a:off x="16379825" y="3170766"/>
              <a:ext cx="4824435" cy="845820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alpha val="10000"/>
                    <a:lumMod val="0"/>
                    <a:lumOff val="100000"/>
                  </a:schemeClr>
                </a:gs>
                <a:gs pos="25000">
                  <a:schemeClr val="accent1">
                    <a:alpha val="10000"/>
                    <a:lumMod val="0"/>
                    <a:lumOff val="100000"/>
                  </a:schemeClr>
                </a:gs>
                <a:gs pos="77000">
                  <a:srgbClr val="FFC000"/>
                </a:gs>
              </a:gsLst>
              <a:lin ang="5400000" scaled="0"/>
              <a:tileRect/>
            </a:gradFill>
            <a:ln>
              <a:noFill/>
            </a:ln>
            <a:effectLst>
              <a:outerShdw blurRad="762000" dist="508000" dir="81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 dirty="0">
                <a:solidFill>
                  <a:srgbClr val="F8F8F8"/>
                </a:solidFill>
                <a:latin typeface="Calibri" panose="020F0502020204030204"/>
              </a:endParaRPr>
            </a:p>
          </p:txBody>
        </p:sp>
        <p:sp>
          <p:nvSpPr>
            <p:cNvPr id="23" name="Textfeld 24">
              <a:extLst>
                <a:ext uri="{FF2B5EF4-FFF2-40B4-BE49-F238E27FC236}">
                  <a16:creationId xmlns:a16="http://schemas.microsoft.com/office/drawing/2014/main" id="{895AA647-ACD4-8145-90E6-CB45348450F7}"/>
                </a:ext>
              </a:extLst>
            </p:cNvPr>
            <p:cNvSpPr txBox="1"/>
            <p:nvPr/>
          </p:nvSpPr>
          <p:spPr>
            <a:xfrm>
              <a:off x="16939675" y="7360606"/>
              <a:ext cx="3704733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28600"/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Willing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o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spend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more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on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beers</a:t>
              </a:r>
              <a:endParaRPr lang="de-DE" sz="1500" b="1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3C0EBA2-4844-1142-A111-DD113004FC66}"/>
              </a:ext>
            </a:extLst>
          </p:cNvPr>
          <p:cNvSpPr txBox="1"/>
          <p:nvPr/>
        </p:nvSpPr>
        <p:spPr>
          <a:xfrm>
            <a:off x="2260875" y="2687724"/>
            <a:ext cx="11993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0"/>
            <a:r>
              <a:rPr lang="en-US" altLang="zh-TW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79%</a:t>
            </a:r>
            <a:endParaRPr lang="en-US" sz="40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16DE81-0166-C542-8D73-B8C5126A7D39}"/>
              </a:ext>
            </a:extLst>
          </p:cNvPr>
          <p:cNvSpPr txBox="1"/>
          <p:nvPr/>
        </p:nvSpPr>
        <p:spPr>
          <a:xfrm>
            <a:off x="8822771" y="2687724"/>
            <a:ext cx="11993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0"/>
            <a:r>
              <a:rPr lang="en-US" altLang="zh-TW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45%</a:t>
            </a:r>
            <a:endParaRPr lang="en-US" sz="40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83CF33-38F9-E34D-9084-955F1F6F958C}"/>
              </a:ext>
            </a:extLst>
          </p:cNvPr>
          <p:cNvGrpSpPr/>
          <p:nvPr/>
        </p:nvGrpSpPr>
        <p:grpSpPr>
          <a:xfrm>
            <a:off x="4922170" y="1585383"/>
            <a:ext cx="2412218" cy="4229101"/>
            <a:chOff x="9841165" y="3170766"/>
            <a:chExt cx="4824435" cy="8458202"/>
          </a:xfrm>
        </p:grpSpPr>
        <p:sp>
          <p:nvSpPr>
            <p:cNvPr id="12" name="Rechteck 25">
              <a:extLst>
                <a:ext uri="{FF2B5EF4-FFF2-40B4-BE49-F238E27FC236}">
                  <a16:creationId xmlns:a16="http://schemas.microsoft.com/office/drawing/2014/main" id="{C917DE9D-7A42-B846-A2E5-D307814BE9B7}"/>
                </a:ext>
              </a:extLst>
            </p:cNvPr>
            <p:cNvSpPr/>
            <p:nvPr/>
          </p:nvSpPr>
          <p:spPr>
            <a:xfrm>
              <a:off x="9841165" y="3170766"/>
              <a:ext cx="4824435" cy="845820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alpha val="10000"/>
                    <a:lumMod val="0"/>
                    <a:lumOff val="100000"/>
                  </a:schemeClr>
                </a:gs>
                <a:gs pos="25000">
                  <a:schemeClr val="accent1">
                    <a:alpha val="10000"/>
                    <a:lumMod val="0"/>
                    <a:lumOff val="100000"/>
                  </a:schemeClr>
                </a:gs>
                <a:gs pos="77000">
                  <a:srgbClr val="FFC000"/>
                </a:gs>
              </a:gsLst>
              <a:lin ang="5400000" scaled="0"/>
              <a:tileRect/>
            </a:gradFill>
            <a:ln>
              <a:noFill/>
            </a:ln>
            <a:effectLst>
              <a:outerShdw blurRad="762000" dist="508000" dir="81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 dirty="0">
                <a:solidFill>
                  <a:srgbClr val="F8F8F8"/>
                </a:solidFill>
                <a:latin typeface="Calibri" panose="020F0502020204030204"/>
              </a:endParaRPr>
            </a:p>
          </p:txBody>
        </p:sp>
        <p:sp>
          <p:nvSpPr>
            <p:cNvPr id="22" name="Textfeld 24">
              <a:extLst>
                <a:ext uri="{FF2B5EF4-FFF2-40B4-BE49-F238E27FC236}">
                  <a16:creationId xmlns:a16="http://schemas.microsoft.com/office/drawing/2014/main" id="{5D04E491-6ED8-654C-A8F0-85F07560EA6C}"/>
                </a:ext>
              </a:extLst>
            </p:cNvPr>
            <p:cNvSpPr txBox="1"/>
            <p:nvPr/>
          </p:nvSpPr>
          <p:spPr>
            <a:xfrm>
              <a:off x="10401015" y="7360606"/>
              <a:ext cx="3704733" cy="2031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28600"/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hey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know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what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hey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want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o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buy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before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entering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he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stores</a:t>
              </a:r>
              <a:endParaRPr lang="de-DE" sz="1500" b="1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7559349-48B7-114C-89AC-CC26F776DE00}"/>
              </a:ext>
            </a:extLst>
          </p:cNvPr>
          <p:cNvSpPr txBox="1"/>
          <p:nvPr/>
        </p:nvSpPr>
        <p:spPr>
          <a:xfrm>
            <a:off x="5553441" y="2695365"/>
            <a:ext cx="11993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0"/>
            <a:r>
              <a:rPr lang="en-US" altLang="zh-TW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88%</a:t>
            </a:r>
            <a:endParaRPr lang="en-US" sz="40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564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7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27026 -0.00058 L 0.00059 -0.00058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487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2681 -0.00058 L -2.13597E-7 1.11111E-6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441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2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100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2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20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100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3" presetClass="entr" presetSubtype="16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6" presetClass="emph" presetSubtype="0" fill="hold" grpId="1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20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100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0" dur="5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4" grpId="0" animBg="1"/>
      <p:bldP spid="4" grpId="0"/>
      <p:bldP spid="4" grpId="1"/>
      <p:bldP spid="19" grpId="0"/>
      <p:bldP spid="19" grpId="1"/>
      <p:bldP spid="18" grpId="0"/>
      <p:bldP spid="18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A394B2E-EBCB-46A9-B27F-66B348AC18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1778828"/>
              </p:ext>
            </p:extLst>
          </p:nvPr>
        </p:nvGraphicFramePr>
        <p:xfrm>
          <a:off x="243857" y="2139870"/>
          <a:ext cx="6110377" cy="4196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0D25C720-0EA8-454B-A305-764DEFFB27B8}"/>
              </a:ext>
            </a:extLst>
          </p:cNvPr>
          <p:cNvSpPr/>
          <p:nvPr/>
        </p:nvSpPr>
        <p:spPr>
          <a:xfrm>
            <a:off x="733292" y="5338671"/>
            <a:ext cx="173254" cy="173255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53A9026-B5AF-4BE4-81D6-650049F30B32}"/>
              </a:ext>
            </a:extLst>
          </p:cNvPr>
          <p:cNvSpPr/>
          <p:nvPr/>
        </p:nvSpPr>
        <p:spPr>
          <a:xfrm>
            <a:off x="733292" y="5646448"/>
            <a:ext cx="173254" cy="17325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0DDA6B-953B-489F-B60E-3DBB8C44ABA7}"/>
              </a:ext>
            </a:extLst>
          </p:cNvPr>
          <p:cNvSpPr txBox="1"/>
          <p:nvPr/>
        </p:nvSpPr>
        <p:spPr>
          <a:xfrm>
            <a:off x="978736" y="5277173"/>
            <a:ext cx="1357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Real valu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15B58F-EE66-4D5B-9117-ABF8C432614F}"/>
              </a:ext>
            </a:extLst>
          </p:cNvPr>
          <p:cNvSpPr txBox="1"/>
          <p:nvPr/>
        </p:nvSpPr>
        <p:spPr>
          <a:xfrm>
            <a:off x="978736" y="5584950"/>
            <a:ext cx="15159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Predicted valu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91FB03D-B4C4-4644-B119-BC12BEA76F04}"/>
              </a:ext>
            </a:extLst>
          </p:cNvPr>
          <p:cNvGrpSpPr/>
          <p:nvPr/>
        </p:nvGrpSpPr>
        <p:grpSpPr>
          <a:xfrm>
            <a:off x="5711020" y="1906291"/>
            <a:ext cx="6480980" cy="4724967"/>
            <a:chOff x="2032000" y="308226"/>
            <a:chExt cx="8128000" cy="5830108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3211AE8E-B108-CA4C-977F-D65B057A58BC}"/>
                </a:ext>
              </a:extLst>
            </p:cNvPr>
            <p:cNvGraphicFramePr/>
            <p:nvPr/>
          </p:nvGraphicFramePr>
          <p:xfrm>
            <a:off x="2032000" y="308226"/>
            <a:ext cx="8128000" cy="58301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9" name="Arrow: Curved Up 5">
              <a:extLst>
                <a:ext uri="{FF2B5EF4-FFF2-40B4-BE49-F238E27FC236}">
                  <a16:creationId xmlns:a16="http://schemas.microsoft.com/office/drawing/2014/main" id="{236535A1-7BAA-7049-BCE2-45FC635C71EF}"/>
                </a:ext>
              </a:extLst>
            </p:cNvPr>
            <p:cNvSpPr/>
            <p:nvPr/>
          </p:nvSpPr>
          <p:spPr>
            <a:xfrm flipV="1">
              <a:off x="3376772" y="1931541"/>
              <a:ext cx="1452081" cy="513706"/>
            </a:xfrm>
            <a:prstGeom prst="curvedUp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" name="Arrow: Curved Up 11">
              <a:extLst>
                <a:ext uri="{FF2B5EF4-FFF2-40B4-BE49-F238E27FC236}">
                  <a16:creationId xmlns:a16="http://schemas.microsoft.com/office/drawing/2014/main" id="{3F56594B-47EA-5142-B054-253DB790BAB5}"/>
                </a:ext>
              </a:extLst>
            </p:cNvPr>
            <p:cNvSpPr/>
            <p:nvPr/>
          </p:nvSpPr>
          <p:spPr>
            <a:xfrm flipV="1">
              <a:off x="4828853" y="1787703"/>
              <a:ext cx="1452081" cy="513706"/>
            </a:xfrm>
            <a:prstGeom prst="curvedUp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1" name="Arrow: Curved Up 12">
              <a:extLst>
                <a:ext uri="{FF2B5EF4-FFF2-40B4-BE49-F238E27FC236}">
                  <a16:creationId xmlns:a16="http://schemas.microsoft.com/office/drawing/2014/main" id="{80C86526-E64E-2043-AF85-D462265F89AB}"/>
                </a:ext>
              </a:extLst>
            </p:cNvPr>
            <p:cNvSpPr/>
            <p:nvPr/>
          </p:nvSpPr>
          <p:spPr>
            <a:xfrm flipV="1">
              <a:off x="6435047" y="1674688"/>
              <a:ext cx="1452081" cy="513706"/>
            </a:xfrm>
            <a:prstGeom prst="curvedUp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2" name="Arrow: Curved Up 13">
              <a:extLst>
                <a:ext uri="{FF2B5EF4-FFF2-40B4-BE49-F238E27FC236}">
                  <a16:creationId xmlns:a16="http://schemas.microsoft.com/office/drawing/2014/main" id="{51FABED2-A1B9-414A-B9B3-1E7CE5DD3AFD}"/>
                </a:ext>
              </a:extLst>
            </p:cNvPr>
            <p:cNvSpPr/>
            <p:nvPr/>
          </p:nvSpPr>
          <p:spPr>
            <a:xfrm flipV="1">
              <a:off x="7960757" y="1530850"/>
              <a:ext cx="1452081" cy="513706"/>
            </a:xfrm>
            <a:prstGeom prst="curvedUp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8A36CDD-4A2E-3F41-B50B-56A8EBBB6A2E}"/>
                </a:ext>
              </a:extLst>
            </p:cNvPr>
            <p:cNvSpPr txBox="1"/>
            <p:nvPr/>
          </p:nvSpPr>
          <p:spPr>
            <a:xfrm>
              <a:off x="3681001" y="1530849"/>
              <a:ext cx="952359" cy="366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3.79%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74DEC9-2B73-7647-BE93-E6DA70E6786E}"/>
                </a:ext>
              </a:extLst>
            </p:cNvPr>
            <p:cNvSpPr txBox="1"/>
            <p:nvPr/>
          </p:nvSpPr>
          <p:spPr>
            <a:xfrm>
              <a:off x="5177245" y="1410387"/>
              <a:ext cx="946935" cy="366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2.55%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A423912-AE04-3F47-834E-FD3D54833740}"/>
                </a:ext>
              </a:extLst>
            </p:cNvPr>
            <p:cNvSpPr txBox="1"/>
            <p:nvPr/>
          </p:nvSpPr>
          <p:spPr>
            <a:xfrm>
              <a:off x="6825465" y="1308687"/>
              <a:ext cx="946934" cy="366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3.17%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AF39B02-25DF-2A4C-8F65-CA4363596627}"/>
                </a:ext>
              </a:extLst>
            </p:cNvPr>
            <p:cNvSpPr txBox="1"/>
            <p:nvPr/>
          </p:nvSpPr>
          <p:spPr>
            <a:xfrm>
              <a:off x="8337475" y="1223072"/>
              <a:ext cx="946934" cy="366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2.86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24099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">
            <a:extLst>
              <a:ext uri="{FF2B5EF4-FFF2-40B4-BE49-F238E27FC236}">
                <a16:creationId xmlns:a16="http://schemas.microsoft.com/office/drawing/2014/main" id="{7F1CADD2-54EE-0B47-BB52-D1E9162E191E}"/>
              </a:ext>
            </a:extLst>
          </p:cNvPr>
          <p:cNvSpPr/>
          <p:nvPr/>
        </p:nvSpPr>
        <p:spPr>
          <a:xfrm flipH="1">
            <a:off x="3174" y="4954022"/>
            <a:ext cx="12302036" cy="1916655"/>
          </a:xfrm>
          <a:prstGeom prst="rect">
            <a:avLst/>
          </a:prstGeom>
          <a:blipFill dpi="0" rotWithShape="1">
            <a:blip r:embed="rId57">
              <a:alphaModFix amt="75000"/>
            </a:blip>
            <a:srcRect/>
            <a:stretch>
              <a:fillRect t="-18071" b="-18071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58" imgW="7772400" imgH="10058400" progId="TCLayout.ActiveDocument.1">
                  <p:embed/>
                </p:oleObj>
              </mc:Choice>
              <mc:Fallback>
                <p:oleObj name="think-cell Slide" r:id="rId58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366113F-BBD4-384D-AC3A-68E324C0EBF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139530" y="4069103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9195BB7-4DDA-BD4D-8E10-CBF8B45B8DA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813968" y="4029416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DB4B3D-D477-8544-AAAF-CA869F96D5F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162843" y="4610441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3C8F96-2BDB-B54A-A270-EC15217491E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488405" y="4200866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9" name="Straight Connector 1278">
            <a:extLst>
              <a:ext uri="{FF2B5EF4-FFF2-40B4-BE49-F238E27FC236}">
                <a16:creationId xmlns:a16="http://schemas.microsoft.com/office/drawing/2014/main" id="{FE2929F4-B899-7447-860E-47438A8867F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465093" y="4069103"/>
            <a:ext cx="5873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0" name="Straight Connector 639">
            <a:extLst>
              <a:ext uri="{FF2B5EF4-FFF2-40B4-BE49-F238E27FC236}">
                <a16:creationId xmlns:a16="http://schemas.microsoft.com/office/drawing/2014/main" id="{09BF0AAA-9819-9A4F-BF97-3A7A12CBC72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789068" y="3407116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ADAD1FCA-CD74-604F-B2C9-7505BBDE3D0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114630" y="3078503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B9C2AAEF-AA7D-E04B-80E4-327C7D9CDFD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440193" y="3137241"/>
            <a:ext cx="5889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6BAF9B24-D1B3-FC48-AF3A-D0FF85A41EA5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50225103"/>
              </p:ext>
            </p:extLst>
          </p:nvPr>
        </p:nvGraphicFramePr>
        <p:xfrm>
          <a:off x="50005" y="2995953"/>
          <a:ext cx="12093575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 useBgFill="1">
        <p:nvSpPr>
          <p:cNvPr id="4" name="Freeform 3">
            <a:extLst>
              <a:ext uri="{FF2B5EF4-FFF2-40B4-BE49-F238E27FC236}">
                <a16:creationId xmlns:a16="http://schemas.microsoft.com/office/drawing/2014/main" id="{11945A0B-DC6E-AC48-880B-282E8ED1839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2268" y="4635841"/>
            <a:ext cx="844551" cy="284163"/>
          </a:xfrm>
          <a:custGeom>
            <a:avLst/>
            <a:gdLst/>
            <a:ahLst/>
            <a:cxnLst/>
            <a:rect l="0" t="0" r="0" b="0"/>
            <a:pathLst>
              <a:path w="844551" h="284163">
                <a:moveTo>
                  <a:pt x="0" y="227012"/>
                </a:moveTo>
                <a:lnTo>
                  <a:pt x="844550" y="0"/>
                </a:lnTo>
                <a:lnTo>
                  <a:pt x="844550" y="57150"/>
                </a:lnTo>
                <a:lnTo>
                  <a:pt x="0" y="2841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11" name="Freeform 10">
            <a:extLst>
              <a:ext uri="{FF2B5EF4-FFF2-40B4-BE49-F238E27FC236}">
                <a16:creationId xmlns:a16="http://schemas.microsoft.com/office/drawing/2014/main" id="{FD20EBCB-DD79-F64D-87D0-6F237C9946B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674518" y="4635841"/>
            <a:ext cx="844551" cy="284163"/>
          </a:xfrm>
          <a:custGeom>
            <a:avLst/>
            <a:gdLst/>
            <a:ahLst/>
            <a:cxnLst/>
            <a:rect l="0" t="0" r="0" b="0"/>
            <a:pathLst>
              <a:path w="844551" h="284163">
                <a:moveTo>
                  <a:pt x="0" y="227012"/>
                </a:moveTo>
                <a:lnTo>
                  <a:pt x="844550" y="0"/>
                </a:lnTo>
                <a:lnTo>
                  <a:pt x="844550" y="57150"/>
                </a:lnTo>
                <a:lnTo>
                  <a:pt x="0" y="2841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15" name="Freeform 14">
            <a:extLst>
              <a:ext uri="{FF2B5EF4-FFF2-40B4-BE49-F238E27FC236}">
                <a16:creationId xmlns:a16="http://schemas.microsoft.com/office/drawing/2014/main" id="{DBFEDF3C-1F03-6D44-97B2-2A57E0E1637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975180" y="4635841"/>
            <a:ext cx="844551" cy="284163"/>
          </a:xfrm>
          <a:custGeom>
            <a:avLst/>
            <a:gdLst/>
            <a:ahLst/>
            <a:cxnLst/>
            <a:rect l="0" t="0" r="0" b="0"/>
            <a:pathLst>
              <a:path w="844551" h="284163">
                <a:moveTo>
                  <a:pt x="0" y="227012"/>
                </a:moveTo>
                <a:lnTo>
                  <a:pt x="844550" y="0"/>
                </a:lnTo>
                <a:lnTo>
                  <a:pt x="844550" y="57150"/>
                </a:lnTo>
                <a:lnTo>
                  <a:pt x="0" y="2841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70772B5D-EF58-5849-A1B1-4C0D0E20DFC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72268" y="4692991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ACB0EAD0-CEA2-6448-AEAC-74630D879B0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674518" y="4635841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1CFFD91A-7A65-9943-A91B-F7CCB405F81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674518" y="4692991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61523784-67B3-4845-A01D-BFD8FA07925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975180" y="4635841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E818E50-9DA5-C046-B049-E474AA79D2A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72268" y="4635841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2C8AA257-5FCF-5347-9CE0-A0D5C8910CC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975180" y="4692991"/>
            <a:ext cx="844551" cy="227013"/>
          </a:xfrm>
          <a:custGeom>
            <a:avLst/>
            <a:gdLst/>
            <a:ahLst/>
            <a:cxnLst/>
            <a:rect l="0" t="0" r="0" b="0"/>
            <a:pathLst>
              <a:path w="844551" h="227013">
                <a:moveTo>
                  <a:pt x="0" y="227012"/>
                </a:moveTo>
                <a:lnTo>
                  <a:pt x="8445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59" name="Straight Connector 1458">
            <a:extLst>
              <a:ext uri="{FF2B5EF4-FFF2-40B4-BE49-F238E27FC236}">
                <a16:creationId xmlns:a16="http://schemas.microsoft.com/office/drawing/2014/main" id="{DC5D508C-13F7-4A4A-A198-D7B95CDF354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058693" y="3661116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8" name="Straight Connector 1457">
            <a:extLst>
              <a:ext uri="{FF2B5EF4-FFF2-40B4-BE49-F238E27FC236}">
                <a16:creationId xmlns:a16="http://schemas.microsoft.com/office/drawing/2014/main" id="{3B5D1D34-31AD-FA45-97A7-A3F8C4605DD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94543" y="3661116"/>
            <a:ext cx="5264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3" name="Straight Connector 1162">
            <a:extLst>
              <a:ext uri="{FF2B5EF4-FFF2-40B4-BE49-F238E27FC236}">
                <a16:creationId xmlns:a16="http://schemas.microsoft.com/office/drawing/2014/main" id="{F47D66F2-4B10-6445-B9E9-A90EC774CD24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V="1">
            <a:off x="794543" y="3661116"/>
            <a:ext cx="0" cy="693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B04593C7-B0A8-C34B-A13E-E941A64A791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794543" y="1754528"/>
            <a:ext cx="10602913" cy="14732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0" name="Straight Connector 1329">
            <a:extLst>
              <a:ext uri="{FF2B5EF4-FFF2-40B4-BE49-F238E27FC236}">
                <a16:creationId xmlns:a16="http://schemas.microsoft.com/office/drawing/2014/main" id="{A47D51AA-87F1-CF44-9199-C09077CE595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6134893" y="2729253"/>
            <a:ext cx="0" cy="1084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2" name="Straight Connector 1331">
            <a:extLst>
              <a:ext uri="{FF2B5EF4-FFF2-40B4-BE49-F238E27FC236}">
                <a16:creationId xmlns:a16="http://schemas.microsoft.com/office/drawing/2014/main" id="{18E44136-EBB9-9C48-BE41-9548C5A7A16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1397455" y="272925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1" name="Straight Connector 1330">
            <a:extLst>
              <a:ext uri="{FF2B5EF4-FFF2-40B4-BE49-F238E27FC236}">
                <a16:creationId xmlns:a16="http://schemas.microsoft.com/office/drawing/2014/main" id="{0AF12BE8-5629-D64C-A020-3A2D1B6CF43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134893" y="2729253"/>
            <a:ext cx="52625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6" name="Straight Connector 1275">
            <a:extLst>
              <a:ext uri="{FF2B5EF4-FFF2-40B4-BE49-F238E27FC236}">
                <a16:creationId xmlns:a16="http://schemas.microsoft.com/office/drawing/2014/main" id="{B0665F65-5FF6-D441-AD99-E869115CAC9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10071893" y="3108666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101C6D3-23E8-0D43-A27B-DF5D78C6DB8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7420768" y="399290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9465FF2C-B047-D548-A569-B5B04EE2881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4771230" y="4050053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21B9DE8D-6286-D141-BFF9-25B26AB6C72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3445668" y="4124666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7154B0-F336-7D48-B5F4-93FBCF036D01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8746330" y="3330916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96CB9CC1-41E6-564D-84E2-533B7100443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2120105" y="4534241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8" name="Text Placeholder 2">
            <a:extLst>
              <a:ext uri="{FF2B5EF4-FFF2-40B4-BE49-F238E27FC236}">
                <a16:creationId xmlns:a16="http://schemas.microsoft.com/office/drawing/2014/main" id="{7CCB3D53-6E28-6642-944E-4B3C1DD7CBCB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11210130" y="5004141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C3216D-D1CF-44D6-BDFC-0EDA18F83897}" type="datetime'''2''''0''''1''''''9'''''''''">
              <a:rPr lang="en-US" altLang="en-US" sz="1400" smtClean="0"/>
              <a:pPr/>
              <a:t>2019</a:t>
            </a:fld>
            <a:endParaRPr lang="en-US" sz="14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BEC2774-0DD6-D044-A59C-4560DE983D0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3259930" y="5004141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25D40-A53A-4572-A509-4343F1A78ABE}" type="datetime'p''''''''r''''''''i''''c''''''''''e'">
              <a:rPr lang="en-US" altLang="en-US" sz="1400" smtClean="0"/>
              <a:pPr/>
              <a:t>price</a:t>
            </a:fld>
            <a:endParaRPr lang="en-US" sz="14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47D5B778-2A24-1C49-8179-3CA30A9BD143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2007393" y="5004141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D93841-0C58-47F6-BA56-AB50ACBF4E3B}" type="datetime'''''''''''''''''''''''''vo''l'''''''''''''">
              <a:rPr lang="en-US" altLang="en-US" sz="1400" smtClean="0"/>
              <a:pPr/>
              <a:t>vol</a:t>
            </a:fld>
            <a:endParaRPr lang="en-US" sz="1400" dirty="0">
              <a:sym typeface="+mn-lt"/>
            </a:endParaRPr>
          </a:p>
        </p:txBody>
      </p:sp>
      <p:sp>
        <p:nvSpPr>
          <p:cNvPr id="695" name="Text Placeholder 2">
            <a:extLst>
              <a:ext uri="{FF2B5EF4-FFF2-40B4-BE49-F238E27FC236}">
                <a16:creationId xmlns:a16="http://schemas.microsoft.com/office/drawing/2014/main" id="{5B05B166-CD72-CF46-A882-645DFE0B583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308055" y="5004141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7C6E26-408E-46BA-9382-6330D456C2FC}" type="datetime'''''v''''''''''''''''''''''''''''''''o''l'''''''''''''''''''''">
              <a:rPr lang="en-US" altLang="en-US" sz="1400" smtClean="0"/>
              <a:pPr/>
              <a:t>vol</a:t>
            </a:fld>
            <a:endParaRPr lang="en-US" sz="14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669BEE7-753D-C644-8921-310D0DA4204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5909468" y="5004141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BECD93-227C-4CDB-9A5F-E8E7D1F38D26}" type="datetime'2''0''''''''''''''''''''''''''1''''''''''''''''''8'''''">
              <a:rPr lang="en-US" altLang="en-US" sz="1400" smtClean="0"/>
              <a:pPr/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D24556DD-4F98-4548-918A-DC55C3BE67CB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8546305" y="3432516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E5B665-356D-4E7B-BD99-E877CEF939A7}" type="datetime''' $''''''''''''4''''''''''''''''0'''''' '">
              <a:rPr lang="en-US" altLang="en-US" sz="1400" smtClean="0"/>
              <a:pPr/>
              <a:t> $40 </a:t>
            </a:fld>
            <a:endParaRPr lang="en-US" sz="14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DC0A72C-052D-4B41-8EF5-A5C0834EC32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634705" y="5004141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12058C-E4CB-4CAE-890F-7A640B0E0424}" type="datetime'''''''''''''''''''''''''m''''''''''i''''''''''x'''">
              <a:rPr lang="en-US" altLang="en-US" sz="1400" smtClean="0"/>
              <a:pPr/>
              <a:t>mix</a:t>
            </a:fld>
            <a:endParaRPr lang="en-US" sz="1400" dirty="0">
              <a:sym typeface="+mn-lt"/>
            </a:endParaRPr>
          </a:p>
        </p:txBody>
      </p:sp>
      <p:sp>
        <p:nvSpPr>
          <p:cNvPr id="729" name="Text Placeholder 2">
            <a:extLst>
              <a:ext uri="{FF2B5EF4-FFF2-40B4-BE49-F238E27FC236}">
                <a16:creationId xmlns:a16="http://schemas.microsoft.com/office/drawing/2014/main" id="{D54FECA3-89E4-D64B-B463-87671AC42AC3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9770268" y="3162641"/>
            <a:ext cx="604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6A1F3-94E5-499A-9A66-E2C841CC6F47}" type="datetime''''' ''$''''''(''7,''''''''09'''')'''''''''''''''''''''''">
              <a:rPr lang="en-US" altLang="en-US" sz="1400" smtClean="0"/>
              <a:pPr/>
              <a:t> $(7,09)</a:t>
            </a:fld>
            <a:endParaRPr lang="en-US" sz="1400" dirty="0">
              <a:sym typeface="+mn-lt"/>
            </a:endParaRPr>
          </a:p>
        </p:txBody>
      </p:sp>
      <p:sp>
        <p:nvSpPr>
          <p:cNvPr id="792" name="Text Placeholder 2">
            <a:extLst>
              <a:ext uri="{FF2B5EF4-FFF2-40B4-BE49-F238E27FC236}">
                <a16:creationId xmlns:a16="http://schemas.microsoft.com/office/drawing/2014/main" id="{3F307C36-4EBE-1D46-96D8-3759A008809E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582318" y="4094503"/>
            <a:ext cx="379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03AFC0-0935-4241-B74A-79DBB12BB905}" type="datetime''''''''' ''''$''''''''(5'''''''''''''''''''''''''''''')'''">
              <a:rPr lang="en-US" altLang="en-US" sz="1400" smtClean="0"/>
              <a:pPr/>
              <a:t> $(5)</a:t>
            </a:fld>
            <a:endParaRPr lang="en-US" sz="1400" dirty="0">
              <a:sym typeface="+mn-lt"/>
            </a:endParaRPr>
          </a:p>
        </p:txBody>
      </p:sp>
      <p:sp>
        <p:nvSpPr>
          <p:cNvPr id="767" name="Text Placeholder 2">
            <a:extLst>
              <a:ext uri="{FF2B5EF4-FFF2-40B4-BE49-F238E27FC236}">
                <a16:creationId xmlns:a16="http://schemas.microsoft.com/office/drawing/2014/main" id="{034E382B-0BD4-404C-BA27-9D7172B4665D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972005" y="2919753"/>
            <a:ext cx="852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D592AD-201C-47DB-ACF7-5D07A54EEF01}" type="datetime''''''''''' ''''''''''''$''1.4''''''''''9''''8,''''3''''''7'' '">
              <a:rPr lang="en-US" altLang="en-US" sz="1400" smtClean="0"/>
              <a:pPr/>
              <a:t> $1.498,37 </a:t>
            </a:fld>
            <a:endParaRPr lang="en-US" sz="1400" dirty="0">
              <a:sym typeface="+mn-lt"/>
            </a:endParaRPr>
          </a:p>
        </p:txBody>
      </p:sp>
      <p:sp>
        <p:nvSpPr>
          <p:cNvPr id="697" name="Text Placeholder 2">
            <a:extLst>
              <a:ext uri="{FF2B5EF4-FFF2-40B4-BE49-F238E27FC236}">
                <a16:creationId xmlns:a16="http://schemas.microsoft.com/office/drawing/2014/main" id="{70F628EE-7637-F749-AE04-2BC232891DDE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9935368" y="5004141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6E049-275B-4047-9F06-F9CA35155088}" type="datetime'''''''''''m''''''''''''''''''''''''i''''''''''x'">
              <a:rPr lang="en-US" altLang="en-US" sz="1400" smtClean="0"/>
              <a:pPr/>
              <a:t>mix</a:t>
            </a:fld>
            <a:endParaRPr lang="en-US" sz="1400" dirty="0">
              <a:sym typeface="+mn-lt"/>
            </a:endParaRPr>
          </a:p>
        </p:txBody>
      </p:sp>
      <p:sp>
        <p:nvSpPr>
          <p:cNvPr id="696" name="Text Placeholder 2">
            <a:extLst>
              <a:ext uri="{FF2B5EF4-FFF2-40B4-BE49-F238E27FC236}">
                <a16:creationId xmlns:a16="http://schemas.microsoft.com/office/drawing/2014/main" id="{CD65CE0E-A77E-8943-A46F-B6EAC8E394FC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8560593" y="5004141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E1448F-48B5-43B6-8C20-A7E026882B2B}" type="datetime'''p''r''''''''''''''i''''''''''''''''c''''''e'''''''''">
              <a:rPr lang="en-US" altLang="en-US" sz="1400" smtClean="0"/>
              <a:pPr/>
              <a:t>price</a:t>
            </a:fld>
            <a:endParaRPr lang="en-US" sz="1400" dirty="0">
              <a:sym typeface="+mn-lt"/>
            </a:endParaRPr>
          </a:p>
        </p:txBody>
      </p:sp>
      <p:sp>
        <p:nvSpPr>
          <p:cNvPr id="791" name="Text Placeholder 2">
            <a:extLst>
              <a:ext uri="{FF2B5EF4-FFF2-40B4-BE49-F238E27FC236}">
                <a16:creationId xmlns:a16="http://schemas.microsoft.com/office/drawing/2014/main" id="{D0E0493B-0DFE-7842-A9B1-5747AB7036C3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245643" y="4226266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A50326-5BEC-4B47-9288-541BB41ABE21}" type="datetime''''''''''''' $''''''''''''''''2''''''''''''''''''''''''1'''' '">
              <a:rPr lang="en-US" altLang="en-US" sz="1400" smtClean="0"/>
              <a:pPr/>
              <a:t> $21 </a:t>
            </a:fld>
            <a:endParaRPr lang="en-US" sz="1400" dirty="0">
              <a:sym typeface="+mn-lt"/>
            </a:endParaRPr>
          </a:p>
        </p:txBody>
      </p:sp>
      <p:sp>
        <p:nvSpPr>
          <p:cNvPr id="790" name="Text Placeholder 2">
            <a:extLst>
              <a:ext uri="{FF2B5EF4-FFF2-40B4-BE49-F238E27FC236}">
                <a16:creationId xmlns:a16="http://schemas.microsoft.com/office/drawing/2014/main" id="{FAE8B142-5BE2-994C-96E0-60AEA61B4AD4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920080" y="4635841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C2A787-FC12-4AA2-A236-B09769F00B05}" type="datetime''''' ''''''''''''''''$''''''5''0'''''''''''' '''''''''''''''''">
              <a:rPr lang="en-US" altLang="en-US" sz="1400" smtClean="0"/>
              <a:pPr/>
              <a:t> $50 </a:t>
            </a:fld>
            <a:endParaRPr lang="en-US" sz="1400" dirty="0">
              <a:sym typeface="+mn-lt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F1711FB7-197A-414B-9FF3-74EA994FADE7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7220743" y="4094503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40CBD-5021-4451-ADFA-7BD6D493CAD3}" type="datetime''''''''''''''''' ''''''''$''''''''''''''''''81'''''''''' '''">
              <a:rPr lang="en-US" altLang="en-US" sz="1400" smtClean="0"/>
              <a:pPr/>
              <a:t> $81 </a:t>
            </a:fld>
            <a:endParaRPr lang="en-US" sz="1400" dirty="0">
              <a:sym typeface="+mn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A470E4F-C1E8-F54E-987F-AF93891CC71E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607218" y="5004141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1C3B18-5D38-4BDC-AF17-5D4131DEE5CB}" type="datetime'''''''''''''''''''''''2''''0''''''''1''''7'''''''''''''''''''">
              <a:rPr lang="en-US" altLang="en-US" sz="1400" smtClean="0"/>
              <a:pPr/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724" name="Text Placeholder 2">
            <a:extLst>
              <a:ext uri="{FF2B5EF4-FFF2-40B4-BE49-F238E27FC236}">
                <a16:creationId xmlns:a16="http://schemas.microsoft.com/office/drawing/2014/main" id="{8E2547BC-E76E-E843-993C-2C8DC3A41EC3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481805" y="4392953"/>
            <a:ext cx="627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67DBFE-3A28-4E3B-84E6-E5DE8F551EB5}" type="datetime''' $''''''''''''1''''''.3''1''''''''''9'''''''''''''' '''''">
              <a:rPr lang="en-US" altLang="en-US" sz="1400" smtClean="0"/>
              <a:pPr/>
              <a:t> $1.319 </a:t>
            </a:fld>
            <a:endParaRPr lang="en-US" sz="1400" dirty="0">
              <a:sym typeface="+mn-lt"/>
            </a:endParaRPr>
          </a:p>
        </p:txBody>
      </p:sp>
      <p:sp>
        <p:nvSpPr>
          <p:cNvPr id="725" name="Text Placeholder 2">
            <a:extLst>
              <a:ext uri="{FF2B5EF4-FFF2-40B4-BE49-F238E27FC236}">
                <a16:creationId xmlns:a16="http://schemas.microsoft.com/office/drawing/2014/main" id="{F8F224C8-7F76-4847-BD95-A75D77A11C45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784055" y="3851616"/>
            <a:ext cx="627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5E43E9-0697-40D8-B4F7-8B82072A5B12}" type="datetime''' ''$''''1''''''''''.3''''''8''''''''''5'' '''''">
              <a:rPr lang="en-US" altLang="en-US" sz="1400" smtClean="0"/>
              <a:pPr/>
              <a:t> $1.385 </a:t>
            </a:fld>
            <a:endParaRPr lang="en-US" sz="1400" dirty="0">
              <a:sym typeface="+mn-lt"/>
            </a:endParaRPr>
          </a:p>
        </p:txBody>
      </p:sp>
      <p:sp>
        <p:nvSpPr>
          <p:cNvPr id="576" name="Text Placeholder 2">
            <a:extLst>
              <a:ext uri="{FF2B5EF4-FFF2-40B4-BE49-F238E27FC236}">
                <a16:creationId xmlns:a16="http://schemas.microsoft.com/office/drawing/2014/main" id="{12BEB9B9-E825-8E4C-9ABB-FF9ADA01881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3047205" y="3524591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B187E-D305-4837-BD8D-DBBDB451DBBC}" type="datetime'''''+5'''''''''''''''''''''''''''''',''''''''''''''0''0%'''">
              <a:rPr lang="en-US" altLang="en-US" sz="1400" b="1" smtClean="0"/>
              <a:pPr/>
              <a:t>+5,00%</a:t>
            </a:fld>
            <a:endParaRPr lang="en-US" sz="1400" b="1" dirty="0">
              <a:sym typeface="+mn-lt"/>
            </a:endParaRPr>
          </a:p>
        </p:txBody>
      </p:sp>
      <p:sp>
        <p:nvSpPr>
          <p:cNvPr id="1508" name="Text Placeholder 2">
            <a:extLst>
              <a:ext uri="{FF2B5EF4-FFF2-40B4-BE49-F238E27FC236}">
                <a16:creationId xmlns:a16="http://schemas.microsoft.com/office/drawing/2014/main" id="{901DDA8F-472D-D644-B99B-8A345765E29A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715793" y="2354603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3E1590-207B-40BD-A62B-BE2CDA40F560}" type="datetime'''+''''6,''''''59''''''''''''''%'''''''''''''''''''''''''''">
              <a:rPr lang="en-US" altLang="en-US" sz="1400" b="1" smtClean="0"/>
              <a:pPr/>
              <a:t>+6,59%</a:t>
            </a:fld>
            <a:endParaRPr lang="en-US" sz="1400" b="1" dirty="0">
              <a:sym typeface="+mn-lt"/>
            </a:endParaRPr>
          </a:p>
        </p:txBody>
      </p:sp>
      <p:sp>
        <p:nvSpPr>
          <p:cNvPr id="1009" name="Text Placeholder 2">
            <a:extLst>
              <a:ext uri="{FF2B5EF4-FFF2-40B4-BE49-F238E27FC236}">
                <a16:creationId xmlns:a16="http://schemas.microsoft.com/office/drawing/2014/main" id="{FA6E6B33-FA2B-414C-9042-B777B57D0C2D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8385968" y="2592728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4BBD31-261A-4E35-BF83-E159B4364FDF}" type="datetime'''+''''''''8,2''''''''''''''1''''''''''''''''''''''''''''''%'">
              <a:rPr lang="en-US" altLang="en-US" sz="1400" b="1" smtClean="0"/>
              <a:pPr/>
              <a:t>+8,21%</a:t>
            </a:fld>
            <a:endParaRPr lang="en-US" sz="1400" b="1" dirty="0">
              <a:sym typeface="+mn-lt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92E0CE65-8548-E641-A598-876DAE0BAF65}"/>
              </a:ext>
            </a:extLst>
          </p:cNvPr>
          <p:cNvSpPr txBox="1"/>
          <p:nvPr/>
        </p:nvSpPr>
        <p:spPr>
          <a:xfrm>
            <a:off x="557213" y="406825"/>
            <a:ext cx="6169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Total industry drivers Revenue</a:t>
            </a:r>
          </a:p>
        </p:txBody>
      </p:sp>
    </p:spTree>
    <p:extLst>
      <p:ext uri="{BB962C8B-B14F-4D97-AF65-F5344CB8AC3E}">
        <p14:creationId xmlns:p14="http://schemas.microsoft.com/office/powerpoint/2010/main" val="572710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62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D22DDF8-F461-1F47-8A45-134E36202221}"/>
              </a:ext>
            </a:extLst>
          </p:cNvPr>
          <p:cNvSpPr/>
          <p:nvPr/>
        </p:nvSpPr>
        <p:spPr>
          <a:xfrm>
            <a:off x="7332483" y="-1"/>
            <a:ext cx="4857930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en-US" sz="900" dirty="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18" name="Rechteck 10"/>
          <p:cNvSpPr/>
          <p:nvPr/>
        </p:nvSpPr>
        <p:spPr>
          <a:xfrm>
            <a:off x="7351957" y="2146328"/>
            <a:ext cx="4962498" cy="4711673"/>
          </a:xfrm>
          <a:custGeom>
            <a:avLst/>
            <a:gdLst>
              <a:gd name="connsiteX0" fmla="*/ 0 w 5663381"/>
              <a:gd name="connsiteY0" fmla="*/ 0 h 3775588"/>
              <a:gd name="connsiteX1" fmla="*/ 5663381 w 5663381"/>
              <a:gd name="connsiteY1" fmla="*/ 0 h 3775588"/>
              <a:gd name="connsiteX2" fmla="*/ 5663381 w 5663381"/>
              <a:gd name="connsiteY2" fmla="*/ 3775588 h 3775588"/>
              <a:gd name="connsiteX3" fmla="*/ 0 w 5663381"/>
              <a:gd name="connsiteY3" fmla="*/ 3775588 h 3775588"/>
              <a:gd name="connsiteX4" fmla="*/ 0 w 5663381"/>
              <a:gd name="connsiteY4" fmla="*/ 0 h 3775588"/>
              <a:gd name="connsiteX0" fmla="*/ 0 w 5692878"/>
              <a:gd name="connsiteY0" fmla="*/ 0 h 3775588"/>
              <a:gd name="connsiteX1" fmla="*/ 5692878 w 5692878"/>
              <a:gd name="connsiteY1" fmla="*/ 1356851 h 3775588"/>
              <a:gd name="connsiteX2" fmla="*/ 5663381 w 5692878"/>
              <a:gd name="connsiteY2" fmla="*/ 3775588 h 3775588"/>
              <a:gd name="connsiteX3" fmla="*/ 0 w 5692878"/>
              <a:gd name="connsiteY3" fmla="*/ 3775588 h 3775588"/>
              <a:gd name="connsiteX4" fmla="*/ 0 w 5692878"/>
              <a:gd name="connsiteY4" fmla="*/ 0 h 377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92878" h="3775588">
                <a:moveTo>
                  <a:pt x="0" y="0"/>
                </a:moveTo>
                <a:lnTo>
                  <a:pt x="5692878" y="1356851"/>
                </a:lnTo>
                <a:lnTo>
                  <a:pt x="5663381" y="3775588"/>
                </a:lnTo>
                <a:lnTo>
                  <a:pt x="0" y="377558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 dirty="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19" name="Rechteck 10"/>
          <p:cNvSpPr/>
          <p:nvPr/>
        </p:nvSpPr>
        <p:spPr>
          <a:xfrm>
            <a:off x="7351956" y="4897464"/>
            <a:ext cx="4962499" cy="1960536"/>
          </a:xfrm>
          <a:custGeom>
            <a:avLst/>
            <a:gdLst>
              <a:gd name="connsiteX0" fmla="*/ 0 w 5663381"/>
              <a:gd name="connsiteY0" fmla="*/ 0 h 3775588"/>
              <a:gd name="connsiteX1" fmla="*/ 5663381 w 5663381"/>
              <a:gd name="connsiteY1" fmla="*/ 0 h 3775588"/>
              <a:gd name="connsiteX2" fmla="*/ 5663381 w 5663381"/>
              <a:gd name="connsiteY2" fmla="*/ 3775588 h 3775588"/>
              <a:gd name="connsiteX3" fmla="*/ 0 w 5663381"/>
              <a:gd name="connsiteY3" fmla="*/ 3775588 h 3775588"/>
              <a:gd name="connsiteX4" fmla="*/ 0 w 5663381"/>
              <a:gd name="connsiteY4" fmla="*/ 0 h 3775588"/>
              <a:gd name="connsiteX0" fmla="*/ 0 w 5692878"/>
              <a:gd name="connsiteY0" fmla="*/ 0 h 3775588"/>
              <a:gd name="connsiteX1" fmla="*/ 5692878 w 5692878"/>
              <a:gd name="connsiteY1" fmla="*/ 1356851 h 3775588"/>
              <a:gd name="connsiteX2" fmla="*/ 5663381 w 5692878"/>
              <a:gd name="connsiteY2" fmla="*/ 3775588 h 3775588"/>
              <a:gd name="connsiteX3" fmla="*/ 0 w 5692878"/>
              <a:gd name="connsiteY3" fmla="*/ 3775588 h 3775588"/>
              <a:gd name="connsiteX4" fmla="*/ 0 w 5692878"/>
              <a:gd name="connsiteY4" fmla="*/ 0 h 377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92878" h="3775588">
                <a:moveTo>
                  <a:pt x="0" y="0"/>
                </a:moveTo>
                <a:lnTo>
                  <a:pt x="5692878" y="1356851"/>
                </a:lnTo>
                <a:lnTo>
                  <a:pt x="5663381" y="3775588"/>
                </a:lnTo>
                <a:lnTo>
                  <a:pt x="0" y="3775588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 dirty="0">
              <a:solidFill>
                <a:srgbClr val="F8F8F8"/>
              </a:solidFill>
              <a:latin typeface="Calibri" panose="020F0502020204030204"/>
            </a:endParaRPr>
          </a:p>
        </p:txBody>
      </p:sp>
      <p:sp>
        <p:nvSpPr>
          <p:cNvPr id="20" name="Textfeld 24">
            <a:extLst>
              <a:ext uri="{FF2B5EF4-FFF2-40B4-BE49-F238E27FC236}">
                <a16:creationId xmlns:a16="http://schemas.microsoft.com/office/drawing/2014/main" id="{B8AC235A-7098-B648-BEF9-659877A8CD3C}"/>
              </a:ext>
            </a:extLst>
          </p:cNvPr>
          <p:cNvSpPr txBox="1"/>
          <p:nvPr/>
        </p:nvSpPr>
        <p:spPr>
          <a:xfrm>
            <a:off x="1583140" y="2415574"/>
            <a:ext cx="40044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600"/>
            <a:r>
              <a:rPr lang="en-US" sz="2500" b="1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Our Market Size</a:t>
            </a:r>
            <a:endParaRPr lang="de-DE" sz="2500" b="1" dirty="0">
              <a:solidFill>
                <a:srgbClr val="E7E6E6">
                  <a:lumMod val="10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40D0EC6-7528-2849-B42A-6A3A22C4457E}"/>
              </a:ext>
            </a:extLst>
          </p:cNvPr>
          <p:cNvSpPr txBox="1"/>
          <p:nvPr/>
        </p:nvSpPr>
        <p:spPr>
          <a:xfrm rot="16200000">
            <a:off x="7223259" y="5605640"/>
            <a:ext cx="83869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228600"/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Our</a:t>
            </a:r>
          </a:p>
          <a:p>
            <a:pPr algn="ctr" defTabSz="228600"/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Marke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DA853CC-E311-784B-9B68-A67FCBFCD744}"/>
              </a:ext>
            </a:extLst>
          </p:cNvPr>
          <p:cNvGrpSpPr/>
          <p:nvPr/>
        </p:nvGrpSpPr>
        <p:grpSpPr>
          <a:xfrm>
            <a:off x="7346339" y="280511"/>
            <a:ext cx="1929796" cy="1620957"/>
            <a:chOff x="14689496" y="561022"/>
            <a:chExt cx="3859590" cy="324191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FDE6CF4-211F-2344-BE28-E5DCF4155577}"/>
                </a:ext>
              </a:extLst>
            </p:cNvPr>
            <p:cNvSpPr txBox="1"/>
            <p:nvPr/>
          </p:nvSpPr>
          <p:spPr>
            <a:xfrm rot="16200000">
              <a:off x="13622538" y="1627980"/>
              <a:ext cx="3241912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600"/>
              <a:r>
                <a:rPr 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Total Available </a:t>
              </a:r>
            </a:p>
            <a:p>
              <a:pPr algn="ctr" defTabSz="228600"/>
              <a:r>
                <a:rPr 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Market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12799F7-BED3-054F-86F2-A7CACF3F810E}"/>
                </a:ext>
              </a:extLst>
            </p:cNvPr>
            <p:cNvSpPr txBox="1"/>
            <p:nvPr/>
          </p:nvSpPr>
          <p:spPr>
            <a:xfrm>
              <a:off x="16018907" y="1438569"/>
              <a:ext cx="2530179" cy="17235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228600"/>
              <a:r>
                <a:rPr lang="en-US" sz="50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10B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E53261B-9A16-D24B-B6E3-35496ABE7C38}"/>
              </a:ext>
            </a:extLst>
          </p:cNvPr>
          <p:cNvGrpSpPr/>
          <p:nvPr/>
        </p:nvGrpSpPr>
        <p:grpSpPr>
          <a:xfrm>
            <a:off x="7346340" y="2734731"/>
            <a:ext cx="1790480" cy="1645002"/>
            <a:chOff x="14689504" y="4886402"/>
            <a:chExt cx="3580958" cy="329000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C38A327-9DC2-8544-B641-4009238BF893}"/>
                </a:ext>
              </a:extLst>
            </p:cNvPr>
            <p:cNvSpPr txBox="1"/>
            <p:nvPr/>
          </p:nvSpPr>
          <p:spPr>
            <a:xfrm rot="16200000">
              <a:off x="13598500" y="5977406"/>
              <a:ext cx="3290003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600"/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Key</a:t>
              </a:r>
              <a:r>
                <a:rPr lang="zh-TW" alt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zh-TW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Competitor</a:t>
              </a:r>
              <a:endParaRPr lang="en-US" sz="1500" b="1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  <a:p>
              <a:pPr algn="ctr" defTabSz="228600"/>
              <a:r>
                <a:rPr lang="en-US" sz="15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Market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F9B5E32-119D-5E4E-AD29-1FF819FA6EAA}"/>
                </a:ext>
              </a:extLst>
            </p:cNvPr>
            <p:cNvSpPr txBox="1"/>
            <p:nvPr/>
          </p:nvSpPr>
          <p:spPr>
            <a:xfrm>
              <a:off x="16452017" y="6188382"/>
              <a:ext cx="1818445" cy="17235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228600"/>
              <a:r>
                <a:rPr lang="en-US" sz="50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7B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298F2C98-9F4E-AD46-BECA-F80DF58C67D0}"/>
              </a:ext>
            </a:extLst>
          </p:cNvPr>
          <p:cNvSpPr txBox="1"/>
          <p:nvPr/>
        </p:nvSpPr>
        <p:spPr>
          <a:xfrm>
            <a:off x="8118234" y="5474834"/>
            <a:ext cx="90922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600"/>
            <a:r>
              <a:rPr lang="en-US" sz="5000" dirty="0">
                <a:solidFill>
                  <a:srgbClr val="FFB733"/>
                </a:solidFill>
                <a:latin typeface="Century Gothic" panose="020B0502020202020204" pitchFamily="34" charset="0"/>
              </a:rPr>
              <a:t>3B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6E633C-21D0-0D41-A779-6A57F48457E6}"/>
              </a:ext>
            </a:extLst>
          </p:cNvPr>
          <p:cNvGrpSpPr/>
          <p:nvPr/>
        </p:nvGrpSpPr>
        <p:grpSpPr>
          <a:xfrm>
            <a:off x="1096195" y="1602733"/>
            <a:ext cx="4999805" cy="4229101"/>
            <a:chOff x="2189215" y="3205465"/>
            <a:chExt cx="9999610" cy="8458201"/>
          </a:xfrm>
        </p:grpSpPr>
        <p:sp>
          <p:nvSpPr>
            <p:cNvPr id="43" name="Halber Rahmen 13">
              <a:extLst>
                <a:ext uri="{FF2B5EF4-FFF2-40B4-BE49-F238E27FC236}">
                  <a16:creationId xmlns:a16="http://schemas.microsoft.com/office/drawing/2014/main" id="{888A0DBC-4696-D547-8D97-73CAEB1B1E88}"/>
                </a:ext>
              </a:extLst>
            </p:cNvPr>
            <p:cNvSpPr/>
            <p:nvPr/>
          </p:nvSpPr>
          <p:spPr>
            <a:xfrm rot="5400000">
              <a:off x="11293989" y="3205465"/>
              <a:ext cx="894835" cy="894835"/>
            </a:xfrm>
            <a:prstGeom prst="halfFrame">
              <a:avLst>
                <a:gd name="adj1" fmla="val 5428"/>
                <a:gd name="adj2" fmla="val 490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>
                <a:solidFill>
                  <a:srgbClr val="464646"/>
                </a:solidFill>
                <a:latin typeface="Calibri" panose="020F0502020204030204"/>
              </a:endParaRPr>
            </a:p>
          </p:txBody>
        </p:sp>
        <p:sp>
          <p:nvSpPr>
            <p:cNvPr id="44" name="Halber Rahmen 14">
              <a:extLst>
                <a:ext uri="{FF2B5EF4-FFF2-40B4-BE49-F238E27FC236}">
                  <a16:creationId xmlns:a16="http://schemas.microsoft.com/office/drawing/2014/main" id="{532A092E-DE3C-4A40-897F-94D4A51D942D}"/>
                </a:ext>
              </a:extLst>
            </p:cNvPr>
            <p:cNvSpPr/>
            <p:nvPr/>
          </p:nvSpPr>
          <p:spPr>
            <a:xfrm rot="10800000">
              <a:off x="11293990" y="10768831"/>
              <a:ext cx="894835" cy="894835"/>
            </a:xfrm>
            <a:prstGeom prst="halfFrame">
              <a:avLst>
                <a:gd name="adj1" fmla="val 5428"/>
                <a:gd name="adj2" fmla="val 490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>
                <a:solidFill>
                  <a:srgbClr val="464646"/>
                </a:solidFill>
                <a:latin typeface="Calibri" panose="020F0502020204030204"/>
              </a:endParaRPr>
            </a:p>
          </p:txBody>
        </p:sp>
        <p:sp>
          <p:nvSpPr>
            <p:cNvPr id="46" name="Halber Rahmen 13">
              <a:extLst>
                <a:ext uri="{FF2B5EF4-FFF2-40B4-BE49-F238E27FC236}">
                  <a16:creationId xmlns:a16="http://schemas.microsoft.com/office/drawing/2014/main" id="{7F0A0019-B7E9-9340-A1DA-161A843B6A64}"/>
                </a:ext>
              </a:extLst>
            </p:cNvPr>
            <p:cNvSpPr/>
            <p:nvPr/>
          </p:nvSpPr>
          <p:spPr>
            <a:xfrm rot="16200000" flipH="1">
              <a:off x="2189215" y="3205465"/>
              <a:ext cx="894835" cy="894835"/>
            </a:xfrm>
            <a:prstGeom prst="halfFrame">
              <a:avLst>
                <a:gd name="adj1" fmla="val 5428"/>
                <a:gd name="adj2" fmla="val 490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>
                <a:solidFill>
                  <a:srgbClr val="464646"/>
                </a:solidFill>
                <a:latin typeface="Calibri" panose="020F0502020204030204"/>
              </a:endParaRPr>
            </a:p>
          </p:txBody>
        </p:sp>
        <p:sp>
          <p:nvSpPr>
            <p:cNvPr id="47" name="Halber Rahmen 14">
              <a:extLst>
                <a:ext uri="{FF2B5EF4-FFF2-40B4-BE49-F238E27FC236}">
                  <a16:creationId xmlns:a16="http://schemas.microsoft.com/office/drawing/2014/main" id="{C9ED62B6-EA3A-5743-B439-A21BFF95C872}"/>
                </a:ext>
              </a:extLst>
            </p:cNvPr>
            <p:cNvSpPr/>
            <p:nvPr/>
          </p:nvSpPr>
          <p:spPr>
            <a:xfrm rot="10800000" flipH="1">
              <a:off x="2189216" y="10768831"/>
              <a:ext cx="894835" cy="894835"/>
            </a:xfrm>
            <a:prstGeom prst="halfFrame">
              <a:avLst>
                <a:gd name="adj1" fmla="val 5428"/>
                <a:gd name="adj2" fmla="val 490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600"/>
              <a:endParaRPr lang="de-DE" sz="900">
                <a:solidFill>
                  <a:srgbClr val="464646"/>
                </a:solidFill>
                <a:latin typeface="Calibri" panose="020F0502020204030204"/>
              </a:endParaRPr>
            </a:p>
          </p:txBody>
        </p:sp>
      </p:grpSp>
      <p:sp>
        <p:nvSpPr>
          <p:cNvPr id="49" name="Textfeld 24">
            <a:extLst>
              <a:ext uri="{FF2B5EF4-FFF2-40B4-BE49-F238E27FC236}">
                <a16:creationId xmlns:a16="http://schemas.microsoft.com/office/drawing/2014/main" id="{B269BCB9-2AE8-AC46-9030-9CC36168567B}"/>
              </a:ext>
            </a:extLst>
          </p:cNvPr>
          <p:cNvSpPr txBox="1"/>
          <p:nvPr/>
        </p:nvSpPr>
        <p:spPr>
          <a:xfrm>
            <a:off x="1558804" y="3369828"/>
            <a:ext cx="40044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600"/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Total market share: </a:t>
            </a:r>
            <a:r>
              <a:rPr lang="en-US" altLang="zh-TW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8.71</a:t>
            </a:r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%</a:t>
            </a:r>
            <a:endParaRPr lang="de-DE" sz="15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52B09EA8-A8A7-C741-B8E1-658C80C6BD32}"/>
              </a:ext>
            </a:extLst>
          </p:cNvPr>
          <p:cNvSpPr txBox="1"/>
          <p:nvPr/>
        </p:nvSpPr>
        <p:spPr>
          <a:xfrm>
            <a:off x="1977684" y="3911873"/>
            <a:ext cx="3563375" cy="5542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600">
              <a:lnSpc>
                <a:spcPts val="1900"/>
              </a:lnSpc>
            </a:pP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some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of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the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point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we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might</a:t>
            </a:r>
          </a:p>
          <a:p>
            <a:pPr algn="ctr" defTabSz="228600">
              <a:lnSpc>
                <a:spcPts val="1900"/>
              </a:lnSpc>
            </a:pP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want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to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mention</a:t>
            </a:r>
            <a:r>
              <a:rPr lang="zh-TW" alt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 </a:t>
            </a:r>
            <a:r>
              <a:rPr lang="en-US" sz="1250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</a:rPr>
              <a:t>.</a:t>
            </a:r>
            <a:endParaRPr lang="de-DE" sz="1250" dirty="0">
              <a:solidFill>
                <a:srgbClr val="E7E6E6">
                  <a:lumMod val="10000"/>
                </a:srgb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9281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2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3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1000" tmFilter="0, 0; .2, .5; .8, .5; 1, 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" dur="500" autoRev="1" fill="hold"/>
                                        <p:tgtEl>
                                          <p:spTgt spid="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500"/>
                            </p:stCondLst>
                            <p:childTnLst>
                              <p:par>
                                <p:cTn id="54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10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6" dur="50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10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2" dur="50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8" grpId="0" animBg="1"/>
      <p:bldP spid="19" grpId="0" animBg="1"/>
      <p:bldP spid="20" grpId="0"/>
      <p:bldP spid="38" grpId="0"/>
      <p:bldP spid="42" grpId="0"/>
      <p:bldP spid="42" grpId="1"/>
      <p:bldP spid="49" grpId="0"/>
      <p:bldP spid="49" grpId="1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92E0CE65-8548-E641-A598-876DAE0BAF65}"/>
              </a:ext>
            </a:extLst>
          </p:cNvPr>
          <p:cNvSpPr txBox="1"/>
          <p:nvPr/>
        </p:nvSpPr>
        <p:spPr>
          <a:xfrm>
            <a:off x="412878" y="532892"/>
            <a:ext cx="6169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SOM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2019 YTD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endParaRPr lang="en-US" sz="3000" b="1" dirty="0">
              <a:solidFill>
                <a:srgbClr val="212C33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6A1D598A-1541-CF4F-8F0D-0A29824EC4F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43970957"/>
              </p:ext>
            </p:extLst>
          </p:nvPr>
        </p:nvGraphicFramePr>
        <p:xfrm>
          <a:off x="250031" y="1287156"/>
          <a:ext cx="11691938" cy="1754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E487C338-A49F-884B-A241-1A2D9BD7846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209007" y="3013046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B723AE-CF13-4042-8874-F7524F4E7171}" type="datetime'M''''AN''''UF''''''A''''''''''''''''''CT''''URER 2'''''''''">
              <a:rPr lang="en-US" altLang="en-US" sz="1200" smtClean="0">
                <a:sym typeface="+mn-lt"/>
              </a:rPr>
              <a:pPr/>
              <a:t>MANUFACTURER 2</a:t>
            </a:fld>
            <a:endParaRPr lang="en-US" sz="12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F1565770-0F2A-C944-89A7-B20A61387DF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149307" y="3013046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7D7F5D-B16F-4A1B-9417-D5DF6885B76D}" type="datetime'M''A''''''NUF''''''''A''C''''''TU''''R''''ER 5'''''''''''">
              <a:rPr lang="en-US" altLang="en-US" sz="1200" smtClean="0">
                <a:sym typeface="+mn-lt"/>
              </a:rPr>
              <a:pPr/>
              <a:t>MANUFACTURER 5</a:t>
            </a:fld>
            <a:endParaRPr lang="en-US" sz="1200" dirty="0"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6E71AFD-3853-F048-9B17-60A9DFD696C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0236994" y="3013046"/>
            <a:ext cx="1598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C0AC82-8812-4D8F-BB04-270DAAD6325D}" type="datetime'OTHE''R'''' ''''''''''M''AN''UF''AC''''TU''RE''''''''R''S'">
              <a:rPr lang="en-US" altLang="en-US" sz="1200" smtClean="0">
                <a:sym typeface="+mn-lt"/>
              </a:rPr>
              <a:pPr/>
              <a:t>OTHER MANUFACTURERS</a:t>
            </a:fld>
            <a:endParaRPr lang="en-US" sz="12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2A7CA62E-6478-0B4B-972E-85250289A81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503070" y="3013046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E87C1D-69EE-440F-8322-0CA28243C69B}" type="datetime'''''''M''''A''N''''UF''A''CT''''U''RER'''''''' ''''''''''4'''">
              <a:rPr lang="en-US" altLang="en-US" sz="1200" smtClean="0">
                <a:sym typeface="+mn-lt"/>
              </a:rPr>
              <a:pPr/>
              <a:t>MANUFACTURER 4</a:t>
            </a:fld>
            <a:endParaRPr lang="en-US" sz="12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16FCD4FB-D876-8941-BDBC-29F1A009533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795545" y="3013046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7D2A4A-CAB1-4EBF-99BC-022AECC358D0}" type="datetime'M''AN''''''''''''U''FA''''C''T''''''''''''U''RE''''R ''6'''''">
              <a:rPr lang="en-US" altLang="en-US" sz="1200" smtClean="0">
                <a:sym typeface="+mn-lt"/>
              </a:rPr>
              <a:pPr/>
              <a:t>MANUFACTURER 6</a:t>
            </a:fld>
            <a:endParaRPr lang="en-US" sz="1200" dirty="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25E55EB-768E-FA43-9D67-E08CF9156CC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856832" y="3013046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91B7E7-769C-41AD-8F86-CF400A15793E}" type="datetime'''M''A''''''''N''UF''A''''''''''''''CTU''R''E''R'''''' ''3'">
              <a:rPr lang="en-US" altLang="en-US" sz="1200" smtClean="0">
                <a:sym typeface="+mn-lt"/>
              </a:rPr>
              <a:pPr/>
              <a:t>MANUFACTURER 3</a:t>
            </a:fld>
            <a:endParaRPr lang="en-US" sz="1200" dirty="0"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F132110-3411-7849-839D-0ED189B3FFE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62770" y="3013046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680565-1388-4DF8-94C7-1441D7E9C2FC}" type="datetime'''M''''''AN''UFA''''''''''''CT''''U''''''''R''''E''R'' ''1'''">
              <a:rPr lang="en-US" altLang="en-US" sz="1200" smtClean="0">
                <a:sym typeface="+mn-lt"/>
              </a:rPr>
              <a:pPr/>
              <a:t>MANUFACTURER 1</a:t>
            </a:fld>
            <a:endParaRPr lang="en-US" sz="1200" dirty="0">
              <a:sym typeface="+mn-lt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757DCC00-7872-B14D-9AB6-EB9B7991D92E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6672289"/>
              </p:ext>
            </p:extLst>
          </p:nvPr>
        </p:nvGraphicFramePr>
        <p:xfrm>
          <a:off x="250031" y="4400640"/>
          <a:ext cx="11691938" cy="159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06C9BD05-AD87-B543-A0FE-9748B246A01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149307" y="601512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0C595-C742-4D53-BDF6-D836DAFF3F1B}" type="datetime'''''MANU''''''''F''''''''A''''''''CT''URE''R'''''''' ''''5'">
              <a:rPr lang="en-US" altLang="en-US" sz="1200" smtClean="0">
                <a:sym typeface="+mn-lt"/>
              </a:rPr>
              <a:pPr/>
              <a:t>MANUFACTURER 5</a:t>
            </a:fld>
            <a:endParaRPr lang="en-US" sz="1200" dirty="0">
              <a:sym typeface="+mn-lt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E5672E62-E22F-0A4A-80E9-ADF4D7C9C15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3856832" y="601512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E1165A-418C-4CCF-AADA-F06B5C7BE7EA}" type="datetime'''M''A''N''''U''''F''''ACT''''''U''R''''''''''ER'''''' 3'''">
              <a:rPr lang="en-US" altLang="en-US" sz="1200" smtClean="0">
                <a:sym typeface="+mn-lt"/>
              </a:rPr>
              <a:pPr/>
              <a:t>MANUFACTURER 3</a:t>
            </a:fld>
            <a:endParaRPr lang="en-US" sz="1200" dirty="0">
              <a:sym typeface="+mn-lt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04C7C8BE-40B6-F64E-B328-1DC9C4EB7E1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8795545" y="601512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F59846-9384-4D8B-BAF0-B7A9689CCFD2}" type="datetime'''M''''AN''UF''''''''A''''''C''''''T''U''R''ER'''' 6'''">
              <a:rPr lang="en-US" altLang="en-US" sz="1200" smtClean="0">
                <a:sym typeface="+mn-lt"/>
              </a:rPr>
              <a:pPr/>
              <a:t>MANUFACTURER 6</a:t>
            </a:fld>
            <a:endParaRPr lang="en-US" sz="1200" dirty="0">
              <a:sym typeface="+mn-lt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C7161083-F6C8-E941-8766-1943FC6193D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209007" y="601512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426499-D9A4-4795-8160-44AFB11E53D1}" type="datetime'MA''''''''NU''FA''''C''T''''''U''''RE''''''R'''''''''' 2'''">
              <a:rPr lang="en-US" altLang="en-US" sz="1200" smtClean="0">
                <a:sym typeface="+mn-lt"/>
              </a:rPr>
              <a:pPr/>
              <a:t>MANUFACTURER 2</a:t>
            </a:fld>
            <a:endParaRPr lang="en-US" sz="1200" dirty="0">
              <a:sym typeface="+mn-lt"/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DCCB65F1-745B-A245-8C50-839352780EC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62770" y="601512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E645D0-D4E2-4909-BC10-3005BAD8BF0C}" type="datetime'''''''MA''''''''''N''''''U''FA''CT''''''U''''R''ER ''1'''">
              <a:rPr lang="en-US" altLang="en-US" sz="1200" smtClean="0">
                <a:sym typeface="+mn-lt"/>
              </a:rPr>
              <a:pPr/>
              <a:t>MANUFACTURER 1</a:t>
            </a:fld>
            <a:endParaRPr lang="en-US" sz="1200" dirty="0">
              <a:sym typeface="+mn-lt"/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3E8E32AF-585B-094E-82F5-BCE2DC914D3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236994" y="6015128"/>
            <a:ext cx="1598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AC7197-29E3-4FA3-BCB3-0117B14EF60C}" type="datetime'''O''TH''''E''''R'' MA''''''''''NUF''AC''TU''R''''E''''''''RS'">
              <a:rPr lang="en-US" altLang="en-US" sz="1200" smtClean="0">
                <a:sym typeface="+mn-lt"/>
              </a:rPr>
              <a:pPr/>
              <a:t>OTHER MANUFACTURERS</a:t>
            </a:fld>
            <a:endParaRPr lang="en-US" sz="1200" dirty="0">
              <a:sym typeface="+mn-lt"/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018002FF-5478-4048-94D5-E62F271A57D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503070" y="6015128"/>
            <a:ext cx="1184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D87C32-C95A-428B-9D59-F42488551759}" type="datetime'''''''''MA''NUFA''CT''''''U''''''''''RER'''' 4'''''''">
              <a:rPr lang="en-US" altLang="en-US" sz="1200" smtClean="0">
                <a:sym typeface="+mn-lt"/>
              </a:rPr>
              <a:pPr/>
              <a:t>MANUFACTURER 4</a:t>
            </a:fld>
            <a:endParaRPr lang="en-US" sz="1200" dirty="0">
              <a:sym typeface="+mn-lt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06CBCF09-DFD5-264F-AB34-FB9DAF5981D9}"/>
              </a:ext>
            </a:extLst>
          </p:cNvPr>
          <p:cNvSpPr txBox="1"/>
          <p:nvPr/>
        </p:nvSpPr>
        <p:spPr>
          <a:xfrm>
            <a:off x="412878" y="3846642"/>
            <a:ext cx="75424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SOM </a:t>
            </a:r>
            <a:r>
              <a:rPr lang="en-US" sz="3000" b="1" dirty="0" err="1">
                <a:solidFill>
                  <a:srgbClr val="212C33"/>
                </a:solidFill>
                <a:latin typeface="Century Gothic" panose="020B0502020202020204" pitchFamily="34" charset="0"/>
              </a:rPr>
              <a:t>evo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%</a:t>
            </a:r>
            <a:r>
              <a:rPr 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2017-2019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YTD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endParaRPr lang="en-US" sz="3000" b="1" dirty="0">
              <a:solidFill>
                <a:srgbClr val="212C33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511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">
            <a:extLst>
              <a:ext uri="{FF2B5EF4-FFF2-40B4-BE49-F238E27FC236}">
                <a16:creationId xmlns:a16="http://schemas.microsoft.com/office/drawing/2014/main" id="{7F1CADD2-54EE-0B47-BB52-D1E9162E191E}"/>
              </a:ext>
            </a:extLst>
          </p:cNvPr>
          <p:cNvSpPr/>
          <p:nvPr/>
        </p:nvSpPr>
        <p:spPr>
          <a:xfrm flipH="1">
            <a:off x="3174" y="4954022"/>
            <a:ext cx="12302036" cy="1916655"/>
          </a:xfrm>
          <a:prstGeom prst="rect">
            <a:avLst/>
          </a:prstGeom>
          <a:blipFill dpi="0" rotWithShape="1">
            <a:blip r:embed="rId57">
              <a:alphaModFix amt="75000"/>
            </a:blip>
            <a:srcRect/>
            <a:stretch>
              <a:fillRect t="-18071" b="-18071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/>
            <a:endParaRPr lang="de-DE" sz="900">
              <a:solidFill>
                <a:srgbClr val="F8F8F8"/>
              </a:solidFill>
              <a:latin typeface="Calibri" panose="020F0502020204030204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59CDD27-A9DB-7F45-8F07-0CDB6C5B8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58" imgW="7772400" imgH="10058400" progId="TCLayout.ActiveDocument.1">
                  <p:embed/>
                </p:oleObj>
              </mc:Choice>
              <mc:Fallback>
                <p:oleObj name="think-cell Slide" r:id="rId58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59CDD27-A9DB-7F45-8F07-0CDB6C5B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DCADFE1-13F3-214D-B63E-9E2B71DAA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92E0CE65-8548-E641-A598-876DAE0BAF65}"/>
              </a:ext>
            </a:extLst>
          </p:cNvPr>
          <p:cNvSpPr txBox="1"/>
          <p:nvPr/>
        </p:nvSpPr>
        <p:spPr>
          <a:xfrm>
            <a:off x="557213" y="406825"/>
            <a:ext cx="6169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Our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Company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drivers</a:t>
            </a:r>
            <a:r>
              <a:rPr lang="zh-TW" altLang="en-US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 </a:t>
            </a:r>
            <a:r>
              <a:rPr lang="en-US" altLang="zh-TW" sz="3000" b="1" dirty="0">
                <a:solidFill>
                  <a:srgbClr val="212C33"/>
                </a:solidFill>
                <a:latin typeface="Century Gothic" panose="020B0502020202020204" pitchFamily="34" charset="0"/>
              </a:rPr>
              <a:t>Revenue</a:t>
            </a:r>
            <a:endParaRPr lang="en-US" sz="3000" b="1" dirty="0">
              <a:solidFill>
                <a:srgbClr val="212C3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3BB65BF-2364-3A4F-8DBB-986AFE933FE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263062" y="3113427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8F71432-8FED-2343-9AD8-1463890FF61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490787" y="4275477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A5C7AE5-0F19-F243-A44D-FBD52248D3D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844925" y="4129427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0CD64B4-36B9-6F41-A20C-94FC228162B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199062" y="4184990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AAA84C8-89DA-D84F-94C5-267DA57CED0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554787" y="4184990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42166B8-5E14-9847-A4A1-50D19B9E5E5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135062" y="4640602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EFB88A5-A432-DD41-959D-6C41CC9CC9A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908925" y="3388065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BA01B9A-1755-D84C-9808-33C7754E7D7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618787" y="3162640"/>
            <a:ext cx="601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C1F01CDC-E5AF-FA45-881E-6A6E80AB51F7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55189905"/>
              </p:ext>
            </p:extLst>
          </p:nvPr>
        </p:nvGraphicFramePr>
        <p:xfrm>
          <a:off x="0" y="3030877"/>
          <a:ext cx="12357100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 useBgFill="1">
        <p:nvSpPr>
          <p:cNvPr id="73" name="Freeform 72">
            <a:extLst>
              <a:ext uri="{FF2B5EF4-FFF2-40B4-BE49-F238E27FC236}">
                <a16:creationId xmlns:a16="http://schemas.microsoft.com/office/drawing/2014/main" id="{9B4A9DA4-C82E-E143-8A95-A9B5CD5131C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1166475" y="4666002"/>
            <a:ext cx="860426" cy="288926"/>
          </a:xfrm>
          <a:custGeom>
            <a:avLst/>
            <a:gdLst/>
            <a:ahLst/>
            <a:cxnLst/>
            <a:rect l="0" t="0" r="0" b="0"/>
            <a:pathLst>
              <a:path w="860426" h="288926">
                <a:moveTo>
                  <a:pt x="0" y="231775"/>
                </a:moveTo>
                <a:lnTo>
                  <a:pt x="860425" y="0"/>
                </a:lnTo>
                <a:lnTo>
                  <a:pt x="860425" y="57150"/>
                </a:lnTo>
                <a:lnTo>
                  <a:pt x="0" y="2889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74" name="Freeform 73">
            <a:extLst>
              <a:ext uri="{FF2B5EF4-FFF2-40B4-BE49-F238E27FC236}">
                <a16:creationId xmlns:a16="http://schemas.microsoft.com/office/drawing/2014/main" id="{BF8D09EA-AB5B-1548-9F91-70307DAE3D3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746750" y="4666002"/>
            <a:ext cx="862013" cy="288926"/>
          </a:xfrm>
          <a:custGeom>
            <a:avLst/>
            <a:gdLst/>
            <a:ahLst/>
            <a:cxnLst/>
            <a:rect l="0" t="0" r="0" b="0"/>
            <a:pathLst>
              <a:path w="862013" h="288926">
                <a:moveTo>
                  <a:pt x="0" y="231775"/>
                </a:moveTo>
                <a:lnTo>
                  <a:pt x="862012" y="0"/>
                </a:lnTo>
                <a:lnTo>
                  <a:pt x="862012" y="57150"/>
                </a:lnTo>
                <a:lnTo>
                  <a:pt x="0" y="2889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75" name="Freeform 74">
            <a:extLst>
              <a:ext uri="{FF2B5EF4-FFF2-40B4-BE49-F238E27FC236}">
                <a16:creationId xmlns:a16="http://schemas.microsoft.com/office/drawing/2014/main" id="{2C4F94FF-E162-4948-8F75-91F0F8D4BB20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28612" y="4666002"/>
            <a:ext cx="860426" cy="288926"/>
          </a:xfrm>
          <a:custGeom>
            <a:avLst/>
            <a:gdLst/>
            <a:ahLst/>
            <a:cxnLst/>
            <a:rect l="0" t="0" r="0" b="0"/>
            <a:pathLst>
              <a:path w="860426" h="288926">
                <a:moveTo>
                  <a:pt x="0" y="231775"/>
                </a:moveTo>
                <a:lnTo>
                  <a:pt x="860425" y="0"/>
                </a:lnTo>
                <a:lnTo>
                  <a:pt x="860425" y="57150"/>
                </a:lnTo>
                <a:lnTo>
                  <a:pt x="0" y="2889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Freeform 75">
            <a:extLst>
              <a:ext uri="{FF2B5EF4-FFF2-40B4-BE49-F238E27FC236}">
                <a16:creationId xmlns:a16="http://schemas.microsoft.com/office/drawing/2014/main" id="{A66976E4-2179-4347-8459-FEEE9BF8BC7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28612" y="4723152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Freeform 76">
            <a:extLst>
              <a:ext uri="{FF2B5EF4-FFF2-40B4-BE49-F238E27FC236}">
                <a16:creationId xmlns:a16="http://schemas.microsoft.com/office/drawing/2014/main" id="{4379B1E3-2AAA-BA44-8511-DC7BCFAC98F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746750" y="4666002"/>
            <a:ext cx="862013" cy="231776"/>
          </a:xfrm>
          <a:custGeom>
            <a:avLst/>
            <a:gdLst/>
            <a:ahLst/>
            <a:cxnLst/>
            <a:rect l="0" t="0" r="0" b="0"/>
            <a:pathLst>
              <a:path w="862013" h="231776">
                <a:moveTo>
                  <a:pt x="0" y="231775"/>
                </a:moveTo>
                <a:lnTo>
                  <a:pt x="8620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8" name="Freeform 77">
            <a:extLst>
              <a:ext uri="{FF2B5EF4-FFF2-40B4-BE49-F238E27FC236}">
                <a16:creationId xmlns:a16="http://schemas.microsoft.com/office/drawing/2014/main" id="{547290E8-CE3E-6E42-8E7A-A4945B6F306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746750" y="4723152"/>
            <a:ext cx="862013" cy="231776"/>
          </a:xfrm>
          <a:custGeom>
            <a:avLst/>
            <a:gdLst/>
            <a:ahLst/>
            <a:cxnLst/>
            <a:rect l="0" t="0" r="0" b="0"/>
            <a:pathLst>
              <a:path w="862013" h="231776">
                <a:moveTo>
                  <a:pt x="0" y="231775"/>
                </a:moveTo>
                <a:lnTo>
                  <a:pt x="8620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9" name="Freeform 78">
            <a:extLst>
              <a:ext uri="{FF2B5EF4-FFF2-40B4-BE49-F238E27FC236}">
                <a16:creationId xmlns:a16="http://schemas.microsoft.com/office/drawing/2014/main" id="{9F577E31-A661-C94D-8D92-F689E51A8724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1166475" y="4723152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0" name="Freeform 79">
            <a:extLst>
              <a:ext uri="{FF2B5EF4-FFF2-40B4-BE49-F238E27FC236}">
                <a16:creationId xmlns:a16="http://schemas.microsoft.com/office/drawing/2014/main" id="{770EB49A-B367-E74A-B5F9-DCC596D7CF5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166475" y="4666002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1" name="Freeform 80">
            <a:extLst>
              <a:ext uri="{FF2B5EF4-FFF2-40B4-BE49-F238E27FC236}">
                <a16:creationId xmlns:a16="http://schemas.microsoft.com/office/drawing/2014/main" id="{466C0DEF-B19B-004A-A16B-E61999D40A7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28612" y="4666002"/>
            <a:ext cx="860426" cy="231776"/>
          </a:xfrm>
          <a:custGeom>
            <a:avLst/>
            <a:gdLst/>
            <a:ahLst/>
            <a:cxnLst/>
            <a:rect l="0" t="0" r="0" b="0"/>
            <a:pathLst>
              <a:path w="860426" h="231776">
                <a:moveTo>
                  <a:pt x="0" y="231775"/>
                </a:moveTo>
                <a:lnTo>
                  <a:pt x="860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F673637-107C-404C-960D-8838A033CF9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138862" y="3777002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3C64E65-7136-564D-8B14-E088B1681F1B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V="1">
            <a:off x="758825" y="3777002"/>
            <a:ext cx="0" cy="6080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CFDFFC0A-4117-7442-B21F-FD90816DBDF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58825" y="3777002"/>
            <a:ext cx="53800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18CA11AE-CD54-7642-AFC5-ACC470B16560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758825" y="1778340"/>
            <a:ext cx="10837862" cy="14779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12DE4E9-AEA5-1442-967D-1D39049BEDA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215062" y="2754652"/>
            <a:ext cx="5381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9A69C12-7CC6-AF46-8FF4-906B0450A57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6215062" y="2754652"/>
            <a:ext cx="0" cy="1174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8BC8CF8-03B0-6F4D-B931-8A6285FBD31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596687" y="2754652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C3AC086-2192-B542-9D35-8E5612DD36D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2112962" y="4564402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FCF76D6-11BE-DE42-AE15-CC81286F50B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3468687" y="4202452"/>
            <a:ext cx="0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A49C635-2BDF-C546-BBB8-8C056501DFC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10240962" y="3138827"/>
            <a:ext cx="0" cy="49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144B2C6-049D-824B-817E-F574FADDBB1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4822825" y="4158001"/>
            <a:ext cx="0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E3173EC-08E6-3847-93D1-BA7DF7ECC88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8886825" y="3311865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2D232AC-06F7-5947-8EEB-59543FB29452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V="1">
            <a:off x="7532687" y="410879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B073EF5-292E-0441-9D12-80768643CA01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3282950" y="5039065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25D40-A53A-4572-A509-4343F1A78ABE}" type="datetime'p''''''''r''''''''i''''c''''''''''e'">
              <a:rPr lang="en-US" altLang="en-US" sz="1400" smtClean="0"/>
              <a:pPr/>
              <a:t>price</a:t>
            </a:fld>
            <a:endParaRPr lang="en-US" sz="1400" dirty="0">
              <a:sym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E9E94C86-9478-2B45-8AF7-88BAD3C7B4D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8731250" y="3413465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28057F-06F4-4140-BA50-04E473D5E661}" type="datetime''''''''''''' ''''''$''''''''''''''''''''''''''''''''5'''' '''">
              <a:rPr lang="en-US" altLang="en-US" sz="1400" smtClean="0"/>
              <a:pPr/>
              <a:t> $5 </a:t>
            </a:fld>
            <a:endParaRPr lang="en-US" sz="1400" dirty="0"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25473DD4-BF02-A644-9081-4E819171DBB2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3313112" y="4300877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A7A7B6-E775-4B95-BE5A-201920FCDB61}" type="datetime''''''' ''''''''''$''''''3'''' '''''''''''''''''''''''''''''''">
              <a:rPr lang="en-US" altLang="en-US" sz="1400" smtClean="0"/>
              <a:pPr/>
              <a:t> $3 </a:t>
            </a:fld>
            <a:endParaRPr lang="en-US" sz="1400" dirty="0"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2739BEC9-FBC3-2D49-91A5-DB415E3E2E8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989637" y="5039065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BECD93-227C-4CDB-9A5F-E8E7D1F38D26}" type="datetime'2''0''''''''''''''''''''''''''1''''''''''''''''''8'''''">
              <a:rPr lang="en-US" altLang="en-US" sz="1400" smtClean="0"/>
              <a:pPr/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CCDB72A6-26AE-CC47-B27B-A12A4A906C0B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8701087" y="5039065"/>
            <a:ext cx="373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E1448F-48B5-43B6-8C20-A7E026882B2B}" type="datetime'''p''r''''''''''''''i''''''''''''''''c''''''e'''''''''">
              <a:rPr lang="en-US" altLang="en-US" sz="1400" smtClean="0"/>
              <a:pPr/>
              <a:t>price</a:t>
            </a:fld>
            <a:endParaRPr lang="en-US" sz="1400" dirty="0">
              <a:sym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C0FE41D9-82B1-CC4F-9815-16B8E4659B63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332661" y="4210390"/>
            <a:ext cx="401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E96742-5858-4500-9574-8CF43568172C}" type="datetime''' ''''''$''''1''''''''''''''''4'''''''''''''''''''''''''' '''">
              <a:rPr lang="en-US" altLang="en-US" sz="1400" smtClean="0"/>
              <a:pPr/>
              <a:t> $14 </a:t>
            </a:fld>
            <a:endParaRPr lang="en-US" sz="1400" dirty="0">
              <a:sym typeface="+mn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40E8AD1E-016B-334C-9574-4FAEEA579E75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2000250" y="5039065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D93841-0C58-47F6-BA56-AB50ACBF4E3B}" type="datetime'''''''''''''''''''''''''vo''l'''''''''''''">
              <a:rPr lang="en-US" altLang="en-US" sz="1400" smtClean="0"/>
              <a:pPr/>
              <a:t>vol</a:t>
            </a:fld>
            <a:endParaRPr lang="en-US" sz="1400" dirty="0">
              <a:sym typeface="+mn-lt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CB842100-3F89-8E47-8512-6EA4842299C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512762" y="4423115"/>
            <a:ext cx="492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7249F1-D498-4F66-BB7C-19CA106C40F5}" type="datetime' ''''''''''''''$''1''''''5''''''''''''''''8 '''''">
              <a:rPr lang="en-US" altLang="en-US" sz="1400" smtClean="0"/>
              <a:pPr/>
              <a:t> $158 </a:t>
            </a:fld>
            <a:endParaRPr lang="en-US" sz="1400" dirty="0">
              <a:sym typeface="+mn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8B4D35F7-030A-E34A-B142-33EBECACF8A2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1237911" y="2945152"/>
            <a:ext cx="7175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EF274B-D0C8-4C87-9FB8-5E02B429AFE3}" type="datetime''''''''' $''''1''''8''''''''3'''',1''3 '''">
              <a:rPr lang="en-US" altLang="en-US" sz="1400" smtClean="0"/>
              <a:pPr/>
              <a:t> $183,13 </a:t>
            </a:fld>
            <a:endParaRPr lang="en-US" sz="1400" dirty="0"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8BAB48EF-F25A-E746-A4CE-3E36A6A564D9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633912" y="4210390"/>
            <a:ext cx="379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4710F7-B06F-44AF-B953-98B795D74A70}" type="datetime''''''''''''''''''''''''' $''''''''''''''''(''''1'''')'''''">
              <a:rPr lang="en-US" altLang="en-US" sz="1400" smtClean="0"/>
              <a:pPr/>
              <a:t> $(1)</a:t>
            </a:fld>
            <a:endParaRPr lang="en-US" sz="1400" dirty="0">
              <a:sym typeface="+mn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A54E2E74-3FE9-C849-B43E-EFC78408F44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7419975" y="5039065"/>
            <a:ext cx="227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7C6E26-408E-46BA-9382-6330D456C2FC}" type="datetime'''''v''''''''''''''''''''''''''''''''o''l'''''''''''''''''''''">
              <a:rPr lang="en-US" altLang="en-US" sz="1400" smtClean="0"/>
              <a:pPr/>
              <a:t>vol</a:t>
            </a:fld>
            <a:endParaRPr lang="en-US" sz="1400" dirty="0"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C333D134-0618-4440-9778-03C62240C70C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1957387" y="4666002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F36F53-DB4D-4D46-B935-033748CC7779}" type="datetime''''''''''''' ''''''''''$''''6'''''''' '">
              <a:rPr lang="en-US" altLang="en-US" sz="1400" smtClean="0"/>
              <a:pPr/>
              <a:t> $6 </a:t>
            </a:fld>
            <a:endParaRPr lang="en-US" sz="1400" dirty="0"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E9A006F8-9DE9-5848-A00F-EEC9B588F472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939336" y="3188040"/>
            <a:ext cx="604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741E73-3A10-4D1F-BBA8-D8A3EBAD9585}" type="datetime''' ''$(''''''''0'''',''''''8''''''4'''')'''''''''''">
              <a:rPr lang="en-US" altLang="en-US" sz="1400" smtClean="0"/>
              <a:pPr/>
              <a:t> $(0,84)</a:t>
            </a:fld>
            <a:endParaRPr lang="en-US" sz="1400" dirty="0">
              <a:sym typeface="+mn-lt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5EC290F0-7471-D24A-A2B5-39507A1E7851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571500" y="5039065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1C3B18-5D38-4BDC-AF17-5D4131DEE5CB}" type="datetime'''''''''''''''''''''''2''''0''''''''1''''7'''''''''''''''''''">
              <a:rPr lang="en-US" altLang="en-US" sz="1400" smtClean="0"/>
              <a:pPr/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630FAF9B-BD5B-034A-B932-DC96D75CF3D9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4686300" y="5039065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12058C-E4CB-4CAE-890F-7A640B0E0424}" type="datetime'''''''''''''''''''''''''m''''''''''i''''''''''x'''">
              <a:rPr lang="en-US" altLang="en-US" sz="1400" smtClean="0"/>
              <a:pPr/>
              <a:t>mix</a:t>
            </a:fld>
            <a:endParaRPr lang="en-US" sz="1400" dirty="0"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D67D8311-DA72-CF46-8237-96E052CBDEEA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930900" y="3967502"/>
            <a:ext cx="492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D9A0A6-58DC-4928-A7C2-0F316B67AEE8}" type="datetime''''''''' ''''''$''16''''''''''6'''''' '">
              <a:rPr lang="en-US" altLang="en-US" sz="1400" smtClean="0"/>
              <a:pPr/>
              <a:t> $166 </a:t>
            </a:fld>
            <a:endParaRPr lang="en-US" sz="1400" dirty="0">
              <a:sym typeface="+mn-lt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02C24736-5B07-0944-9CD0-FDEBFCE8AAEC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1409362" y="5039065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C3216D-D1CF-44D6-BDFC-0EDA18F83897}" type="datetime'''2''''0''''1''''''9'''''''''">
              <a:rPr lang="en-US" altLang="en-US" sz="1400" smtClean="0"/>
              <a:pPr/>
              <a:t>2019</a:t>
            </a:fld>
            <a:endParaRPr lang="en-US" sz="1400" dirty="0"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6B2B4844-E174-E547-B69A-C9055E339792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0104437" y="5039065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6E049-275B-4047-9F06-F9CA35155088}" type="datetime'''''''''''m''''''''''''''''''''''''i''''''''''x'">
              <a:rPr lang="en-US" altLang="en-US" sz="1400" smtClean="0"/>
              <a:pPr/>
              <a:t>mix</a:t>
            </a:fld>
            <a:endParaRPr lang="en-US" sz="1400" dirty="0">
              <a:sym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957AE614-CA01-1D46-92FA-ED26C926E304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3068637" y="3640477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09FFE7-2124-4121-BFDD-F3DCF7F95004}" type="datetime'+''''''''''''4'''''',''''''''''''''''''9''3''''''%'''''''">
              <a:rPr lang="en-US" altLang="en-US" sz="1400" b="1" smtClean="0"/>
              <a:pPr/>
              <a:t>+4,93%</a:t>
            </a:fld>
            <a:endParaRPr lang="en-US" sz="1400" b="1" dirty="0">
              <a:sym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6B605A5E-E96C-E443-8CE4-DEC144F91501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797550" y="2380002"/>
            <a:ext cx="760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EA8AA9-5E3F-4428-9745-DDB0AB1DAEF0}" type="datetime'''''''''''''''''''''+''''7'''''''''''',''''''''70''%'">
              <a:rPr lang="en-US" altLang="en-US" sz="1400" b="1" smtClean="0"/>
              <a:pPr/>
              <a:t>+7,70%</a:t>
            </a:fld>
            <a:endParaRPr lang="en-US" sz="1400" b="1" dirty="0">
              <a:sym typeface="+mn-lt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D6388572-73E6-3A4A-80C6-7D18B640746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8462962" y="2618127"/>
            <a:ext cx="887413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37AA31-CE48-4226-994C-C321D0D32A2E}" type="datetime'''+''''1''''''0,5''''''''''''4''''%'''''">
              <a:rPr lang="en-US" altLang="en-US" sz="1400" b="1" smtClean="0"/>
              <a:pPr/>
              <a:t>+10,54%</a:t>
            </a:fld>
            <a:endParaRPr lang="en-US" sz="1400" b="1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5719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62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AA3C52C-967D-4066-A8A9-C1F46180AA4A}"/>
              </a:ext>
            </a:extLst>
          </p:cNvPr>
          <p:cNvSpPr/>
          <p:nvPr/>
        </p:nvSpPr>
        <p:spPr>
          <a:xfrm>
            <a:off x="0" y="34644"/>
            <a:ext cx="12192000" cy="6857107"/>
          </a:xfrm>
          <a:prstGeom prst="rect">
            <a:avLst/>
          </a:prstGeom>
          <a:solidFill>
            <a:srgbClr val="FFB7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554"/>
            <a:endParaRPr lang="en-US" sz="900">
              <a:solidFill>
                <a:srgbClr val="FFFFFF"/>
              </a:solidFill>
              <a:latin typeface="Open Sans Ligh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FDC2011-DCEC-42BC-88B2-335B9F8497A6}"/>
              </a:ext>
            </a:extLst>
          </p:cNvPr>
          <p:cNvGrpSpPr/>
          <p:nvPr/>
        </p:nvGrpSpPr>
        <p:grpSpPr>
          <a:xfrm>
            <a:off x="-1520055" y="394893"/>
            <a:ext cx="16227552" cy="5549412"/>
            <a:chOff x="-3182715" y="461277"/>
            <a:chExt cx="32459330" cy="11100270"/>
          </a:xfrm>
          <a:effectLst>
            <a:outerShdw blurRad="939800" dist="266700" dir="8100000" algn="tr" rotWithShape="0">
              <a:schemeClr val="bg2">
                <a:lumMod val="50000"/>
                <a:alpha val="40000"/>
              </a:schemeClr>
            </a:outerShdw>
          </a:effectLst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D0860DE3-AC9D-4F42-BEEB-03D0CB0249F0}"/>
                </a:ext>
              </a:extLst>
            </p:cNvPr>
            <p:cNvSpPr>
              <a:spLocks/>
            </p:cNvSpPr>
            <p:nvPr/>
          </p:nvSpPr>
          <p:spPr bwMode="auto">
            <a:xfrm rot="516626">
              <a:off x="4261008" y="10445242"/>
              <a:ext cx="2118386" cy="682115"/>
            </a:xfrm>
            <a:custGeom>
              <a:avLst/>
              <a:gdLst>
                <a:gd name="T0" fmla="*/ 587 w 1174"/>
                <a:gd name="T1" fmla="*/ 338 h 338"/>
                <a:gd name="T2" fmla="*/ 1174 w 1174"/>
                <a:gd name="T3" fmla="*/ 0 h 338"/>
                <a:gd name="T4" fmla="*/ 587 w 1174"/>
                <a:gd name="T5" fmla="*/ 0 h 338"/>
                <a:gd name="T6" fmla="*/ 0 w 1174"/>
                <a:gd name="T7" fmla="*/ 0 h 338"/>
                <a:gd name="T8" fmla="*/ 587 w 1174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4" h="338">
                  <a:moveTo>
                    <a:pt x="587" y="338"/>
                  </a:moveTo>
                  <a:cubicBezTo>
                    <a:pt x="787" y="32"/>
                    <a:pt x="1174" y="0"/>
                    <a:pt x="1174" y="0"/>
                  </a:cubicBezTo>
                  <a:cubicBezTo>
                    <a:pt x="587" y="0"/>
                    <a:pt x="587" y="0"/>
                    <a:pt x="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87" y="32"/>
                    <a:pt x="587" y="338"/>
                  </a:cubicBezTo>
                  <a:close/>
                </a:path>
              </a:pathLst>
            </a:custGeom>
            <a:solidFill>
              <a:srgbClr val="AC680E">
                <a:alpha val="70000"/>
              </a:srgb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/>
              <a:endParaRPr lang="en-US" sz="900" dirty="0">
                <a:solidFill>
                  <a:srgbClr val="272E3A"/>
                </a:solidFill>
                <a:latin typeface="Open Sans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C4E468D-B620-4FDC-A929-36BEE7B5BE48}"/>
                </a:ext>
              </a:extLst>
            </p:cNvPr>
            <p:cNvSpPr/>
            <p:nvPr/>
          </p:nvSpPr>
          <p:spPr>
            <a:xfrm rot="516626">
              <a:off x="-3182715" y="461277"/>
              <a:ext cx="32459330" cy="11100270"/>
            </a:xfrm>
            <a:prstGeom prst="rect">
              <a:avLst/>
            </a:prstGeom>
            <a:solidFill>
              <a:srgbClr val="AC680E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54"/>
              <a:endParaRPr lang="en-US" sz="900" dirty="0">
                <a:solidFill>
                  <a:srgbClr val="FFFFFF"/>
                </a:solidFill>
                <a:latin typeface="Open Sans Light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8387E7-5037-4C57-B233-C4775A9A7FB5}"/>
              </a:ext>
            </a:extLst>
          </p:cNvPr>
          <p:cNvGrpSpPr/>
          <p:nvPr/>
        </p:nvGrpSpPr>
        <p:grpSpPr>
          <a:xfrm>
            <a:off x="-1068695" y="-451340"/>
            <a:ext cx="16227552" cy="5549412"/>
            <a:chOff x="-2137668" y="-903691"/>
            <a:chExt cx="32459330" cy="11100270"/>
          </a:xfrm>
          <a:effectLst>
            <a:outerShdw blurRad="939800" dist="266700" dir="8100000" algn="tr" rotWithShape="0">
              <a:schemeClr val="bg2">
                <a:lumMod val="50000"/>
                <a:alpha val="40000"/>
              </a:schemeClr>
            </a:outerShdw>
          </a:effectLst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76A2EE-B3A4-4AEE-89C6-D90F761F7043}"/>
                </a:ext>
              </a:extLst>
            </p:cNvPr>
            <p:cNvSpPr>
              <a:spLocks/>
            </p:cNvSpPr>
            <p:nvPr/>
          </p:nvSpPr>
          <p:spPr bwMode="auto">
            <a:xfrm rot="967016">
              <a:off x="4755413" y="7977380"/>
              <a:ext cx="2118386" cy="682114"/>
            </a:xfrm>
            <a:custGeom>
              <a:avLst/>
              <a:gdLst>
                <a:gd name="T0" fmla="*/ 587 w 1174"/>
                <a:gd name="T1" fmla="*/ 338 h 338"/>
                <a:gd name="T2" fmla="*/ 1174 w 1174"/>
                <a:gd name="T3" fmla="*/ 0 h 338"/>
                <a:gd name="T4" fmla="*/ 587 w 1174"/>
                <a:gd name="T5" fmla="*/ 0 h 338"/>
                <a:gd name="T6" fmla="*/ 0 w 1174"/>
                <a:gd name="T7" fmla="*/ 0 h 338"/>
                <a:gd name="T8" fmla="*/ 587 w 1174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4" h="338">
                  <a:moveTo>
                    <a:pt x="587" y="338"/>
                  </a:moveTo>
                  <a:cubicBezTo>
                    <a:pt x="787" y="32"/>
                    <a:pt x="1174" y="0"/>
                    <a:pt x="1174" y="0"/>
                  </a:cubicBezTo>
                  <a:cubicBezTo>
                    <a:pt x="587" y="0"/>
                    <a:pt x="587" y="0"/>
                    <a:pt x="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87" y="32"/>
                    <a:pt x="587" y="338"/>
                  </a:cubicBezTo>
                  <a:close/>
                </a:path>
              </a:pathLst>
            </a:custGeom>
            <a:solidFill>
              <a:srgbClr val="FF9300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/>
              <a:endParaRPr lang="en-US" sz="900" dirty="0">
                <a:solidFill>
                  <a:srgbClr val="272E3A"/>
                </a:solidFill>
                <a:latin typeface="Open Sans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4C7441E-FA62-49CD-921A-811DAB4A0901}"/>
                </a:ext>
              </a:extLst>
            </p:cNvPr>
            <p:cNvSpPr/>
            <p:nvPr/>
          </p:nvSpPr>
          <p:spPr>
            <a:xfrm rot="967016">
              <a:off x="-2137668" y="-903691"/>
              <a:ext cx="32459330" cy="11100270"/>
            </a:xfrm>
            <a:prstGeom prst="rect">
              <a:avLst/>
            </a:prstGeom>
            <a:solidFill>
              <a:srgbClr val="FF9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54"/>
              <a:endParaRPr lang="en-US" sz="900">
                <a:solidFill>
                  <a:srgbClr val="FFFFFF"/>
                </a:solidFill>
                <a:latin typeface="Open Sans Light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314B8D-E9F7-4A91-9A8B-B36B7CB44849}"/>
              </a:ext>
            </a:extLst>
          </p:cNvPr>
          <p:cNvGrpSpPr/>
          <p:nvPr/>
        </p:nvGrpSpPr>
        <p:grpSpPr>
          <a:xfrm>
            <a:off x="-503090" y="-1515699"/>
            <a:ext cx="16227552" cy="5549412"/>
            <a:chOff x="-1511080" y="-3063210"/>
            <a:chExt cx="32459330" cy="11100270"/>
          </a:xfrm>
          <a:effectLst>
            <a:outerShdw blurRad="939800" dist="266700" dir="8100000" algn="tr" rotWithShape="0">
              <a:schemeClr val="bg2">
                <a:lumMod val="50000"/>
                <a:alpha val="40000"/>
              </a:schemeClr>
            </a:outerShdw>
          </a:effectLst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8DF117A-4646-4B1D-A929-F75D7E233CE1}"/>
                </a:ext>
              </a:extLst>
            </p:cNvPr>
            <p:cNvSpPr>
              <a:spLocks/>
            </p:cNvSpPr>
            <p:nvPr/>
          </p:nvSpPr>
          <p:spPr bwMode="auto">
            <a:xfrm rot="1198942">
              <a:off x="5153290" y="5251501"/>
              <a:ext cx="2118386" cy="682114"/>
            </a:xfrm>
            <a:custGeom>
              <a:avLst/>
              <a:gdLst>
                <a:gd name="T0" fmla="*/ 587 w 1174"/>
                <a:gd name="T1" fmla="*/ 338 h 338"/>
                <a:gd name="T2" fmla="*/ 1174 w 1174"/>
                <a:gd name="T3" fmla="*/ 0 h 338"/>
                <a:gd name="T4" fmla="*/ 587 w 1174"/>
                <a:gd name="T5" fmla="*/ 0 h 338"/>
                <a:gd name="T6" fmla="*/ 0 w 1174"/>
                <a:gd name="T7" fmla="*/ 0 h 338"/>
                <a:gd name="T8" fmla="*/ 587 w 1174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4" h="338">
                  <a:moveTo>
                    <a:pt x="587" y="338"/>
                  </a:moveTo>
                  <a:cubicBezTo>
                    <a:pt x="787" y="32"/>
                    <a:pt x="1174" y="0"/>
                    <a:pt x="1174" y="0"/>
                  </a:cubicBezTo>
                  <a:cubicBezTo>
                    <a:pt x="587" y="0"/>
                    <a:pt x="587" y="0"/>
                    <a:pt x="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87" y="32"/>
                    <a:pt x="587" y="338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/>
              <a:endParaRPr lang="en-US" sz="900" dirty="0">
                <a:solidFill>
                  <a:srgbClr val="272E3A"/>
                </a:solidFill>
                <a:latin typeface="Open Sans Light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0B3A450-521A-4F70-85AD-D01CC49E07C1}"/>
                </a:ext>
              </a:extLst>
            </p:cNvPr>
            <p:cNvSpPr/>
            <p:nvPr/>
          </p:nvSpPr>
          <p:spPr>
            <a:xfrm rot="1198942">
              <a:off x="-1511080" y="-3063210"/>
              <a:ext cx="32459330" cy="1110027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54"/>
              <a:endParaRPr lang="en-US" sz="900" dirty="0">
                <a:solidFill>
                  <a:srgbClr val="FFFFFF"/>
                </a:solidFill>
                <a:latin typeface="Open Sans Light"/>
              </a:endParaRPr>
            </a:p>
          </p:txBody>
        </p:sp>
      </p:grpSp>
      <p:pic>
        <p:nvPicPr>
          <p:cNvPr id="3" name="Picture 2" descr="A picture containing nature, grass, cup, yellow&#10;&#10;Description automatically generated">
            <a:extLst>
              <a:ext uri="{FF2B5EF4-FFF2-40B4-BE49-F238E27FC236}">
                <a16:creationId xmlns:a16="http://schemas.microsoft.com/office/drawing/2014/main" id="{05260B98-8713-C143-8ACA-793E02A40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8990792" y="297978"/>
            <a:ext cx="1905487" cy="207253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5C91AA5-2744-4BE9-862F-25AB28C92CDB}"/>
              </a:ext>
            </a:extLst>
          </p:cNvPr>
          <p:cNvGrpSpPr/>
          <p:nvPr/>
        </p:nvGrpSpPr>
        <p:grpSpPr>
          <a:xfrm rot="21292580">
            <a:off x="-216022" y="-2393419"/>
            <a:ext cx="16227552" cy="5549412"/>
            <a:chOff x="-154731" y="-4401310"/>
            <a:chExt cx="32459330" cy="11100271"/>
          </a:xfrm>
          <a:effectLst>
            <a:outerShdw blurRad="939800" dist="266700" dir="8100000" algn="tr" rotWithShape="0">
              <a:schemeClr val="bg2">
                <a:lumMod val="50000"/>
                <a:alpha val="40000"/>
              </a:schemeClr>
            </a:outerShdw>
          </a:effectLst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3D3300AC-299B-45DA-B052-7872720524BA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6688985" y="2821500"/>
              <a:ext cx="2118386" cy="682114"/>
            </a:xfrm>
            <a:custGeom>
              <a:avLst/>
              <a:gdLst>
                <a:gd name="T0" fmla="*/ 587 w 1174"/>
                <a:gd name="T1" fmla="*/ 338 h 338"/>
                <a:gd name="T2" fmla="*/ 1174 w 1174"/>
                <a:gd name="T3" fmla="*/ 0 h 338"/>
                <a:gd name="T4" fmla="*/ 587 w 1174"/>
                <a:gd name="T5" fmla="*/ 0 h 338"/>
                <a:gd name="T6" fmla="*/ 0 w 1174"/>
                <a:gd name="T7" fmla="*/ 0 h 338"/>
                <a:gd name="T8" fmla="*/ 587 w 1174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4" h="338">
                  <a:moveTo>
                    <a:pt x="587" y="338"/>
                  </a:moveTo>
                  <a:cubicBezTo>
                    <a:pt x="787" y="32"/>
                    <a:pt x="1174" y="0"/>
                    <a:pt x="1174" y="0"/>
                  </a:cubicBezTo>
                  <a:cubicBezTo>
                    <a:pt x="587" y="0"/>
                    <a:pt x="587" y="0"/>
                    <a:pt x="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87" y="32"/>
                    <a:pt x="587" y="338"/>
                  </a:cubicBezTo>
                  <a:close/>
                </a:path>
              </a:pathLst>
            </a:custGeom>
            <a:solidFill>
              <a:srgbClr val="FF9300">
                <a:alpha val="25000"/>
              </a:srgb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/>
              <a:endParaRPr lang="en-US" sz="900" dirty="0">
                <a:solidFill>
                  <a:srgbClr val="272E3A"/>
                </a:solidFill>
                <a:latin typeface="Open Sans Ligh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C5FAFF2-486C-4B22-8B7F-DB135A3BEF3D}"/>
                </a:ext>
              </a:extLst>
            </p:cNvPr>
            <p:cNvSpPr/>
            <p:nvPr/>
          </p:nvSpPr>
          <p:spPr>
            <a:xfrm rot="1800000">
              <a:off x="-154731" y="-4401310"/>
              <a:ext cx="32459330" cy="11100271"/>
            </a:xfrm>
            <a:prstGeom prst="rect">
              <a:avLst/>
            </a:prstGeom>
            <a:solidFill>
              <a:srgbClr val="FF930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54"/>
              <a:endParaRPr lang="en-US" sz="900" dirty="0">
                <a:solidFill>
                  <a:srgbClr val="FFFFFF"/>
                </a:solidFill>
                <a:latin typeface="Open Sans Light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2B02E1E-002D-4ACD-8254-322C01DA6E56}"/>
              </a:ext>
            </a:extLst>
          </p:cNvPr>
          <p:cNvSpPr txBox="1"/>
          <p:nvPr/>
        </p:nvSpPr>
        <p:spPr>
          <a:xfrm>
            <a:off x="906127" y="5785372"/>
            <a:ext cx="364944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/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Manufacture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6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:</a:t>
            </a:r>
            <a:endParaRPr lang="en-US" sz="2600" dirty="0">
              <a:solidFill>
                <a:srgbClr val="FFFFFF"/>
              </a:solidFill>
              <a:latin typeface="Open Sans Light"/>
            </a:endParaRPr>
          </a:p>
          <a:p>
            <a:pPr defTabSz="228554"/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Private</a:t>
            </a:r>
            <a:r>
              <a:rPr lang="zh-TW" altLang="en-US" sz="20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Label</a:t>
            </a:r>
            <a:endParaRPr lang="en-US" sz="20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CB3B74A-53E7-4D40-9C3D-12F5B7AF9B43}"/>
              </a:ext>
            </a:extLst>
          </p:cNvPr>
          <p:cNvSpPr txBox="1"/>
          <p:nvPr/>
        </p:nvSpPr>
        <p:spPr>
          <a:xfrm rot="1362285">
            <a:off x="3026548" y="1058026"/>
            <a:ext cx="458556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/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Best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Cluster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:</a:t>
            </a:r>
            <a:endParaRPr lang="en-US" sz="2600" dirty="0">
              <a:solidFill>
                <a:srgbClr val="FFFFFF"/>
              </a:solidFill>
              <a:latin typeface="Open Sans Light"/>
            </a:endParaRPr>
          </a:p>
          <a:p>
            <a:pPr defTabSz="228554"/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Zero</a:t>
            </a:r>
            <a:r>
              <a:rPr lang="zh-TW" altLang="en-US" sz="20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Alcohol</a:t>
            </a:r>
            <a:r>
              <a:rPr lang="zh-TW" altLang="en-US" sz="20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;</a:t>
            </a:r>
            <a:r>
              <a:rPr lang="zh-TW" altLang="en-US" sz="20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Imported</a:t>
            </a:r>
            <a:r>
              <a:rPr lang="zh-TW" altLang="en-US" sz="20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Premium</a:t>
            </a:r>
            <a:endParaRPr lang="en-US" sz="20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2E87C3-A03E-4DFB-A139-B2777421AAE3}"/>
              </a:ext>
            </a:extLst>
          </p:cNvPr>
          <p:cNvSpPr txBox="1"/>
          <p:nvPr/>
        </p:nvSpPr>
        <p:spPr>
          <a:xfrm rot="1145431">
            <a:off x="1562593" y="2049820"/>
            <a:ext cx="44323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/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Less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Promotion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Less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Sales</a:t>
            </a:r>
            <a:endParaRPr lang="en-US" sz="26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93979C-387F-43F0-8CF4-9CFA47E2C032}"/>
              </a:ext>
            </a:extLst>
          </p:cNvPr>
          <p:cNvSpPr txBox="1"/>
          <p:nvPr/>
        </p:nvSpPr>
        <p:spPr>
          <a:xfrm rot="427090">
            <a:off x="1138155" y="4380039"/>
            <a:ext cx="353753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/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Main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Competitor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: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endParaRPr lang="en-US" altLang="zh-TW" sz="2600" dirty="0">
              <a:solidFill>
                <a:srgbClr val="FFFFFF"/>
              </a:solidFill>
              <a:latin typeface="Open Sans Light"/>
            </a:endParaRPr>
          </a:p>
          <a:p>
            <a:pPr defTabSz="228554"/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Manufacture</a:t>
            </a:r>
            <a:r>
              <a:rPr lang="zh-TW" altLang="en-US" sz="20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000" dirty="0">
                <a:solidFill>
                  <a:srgbClr val="FFFFFF"/>
                </a:solidFill>
                <a:latin typeface="Open Sans Light"/>
              </a:rPr>
              <a:t>2</a:t>
            </a:r>
            <a:endParaRPr lang="en-US" sz="20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DFCD78A9-C61C-433E-A6C3-390CD1E63539}"/>
              </a:ext>
            </a:extLst>
          </p:cNvPr>
          <p:cNvSpPr txBox="1">
            <a:spLocks/>
          </p:cNvSpPr>
          <p:nvPr/>
        </p:nvSpPr>
        <p:spPr>
          <a:xfrm>
            <a:off x="8647658" y="443937"/>
            <a:ext cx="2136722" cy="12459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457109"/>
            <a:r>
              <a:rPr lang="en-US" altLang="zh-TW" sz="3000" b="1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Insight</a:t>
            </a:r>
          </a:p>
          <a:p>
            <a:pPr algn="r" defTabSz="457109"/>
            <a:r>
              <a:rPr lang="zh-TW" altLang="en-US" sz="3000" b="1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lang="en-US" altLang="zh-TW" sz="3000" b="1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2019</a:t>
            </a:r>
            <a:endParaRPr lang="en-US" sz="3000" b="1" dirty="0">
              <a:solidFill>
                <a:schemeClr val="bg1"/>
              </a:solidFill>
              <a:latin typeface="Century Gothic" panose="020B0502020202020204" pitchFamily="34" charset="0"/>
              <a:ea typeface="+mn-ea"/>
              <a:cs typeface="+mn-cs"/>
            </a:endParaRPr>
          </a:p>
          <a:p>
            <a:pPr defTabSz="457109"/>
            <a:endParaRPr lang="en-US" sz="2999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80C94D1-3C4F-0440-A14D-B7A601B519F1}"/>
              </a:ext>
            </a:extLst>
          </p:cNvPr>
          <p:cNvSpPr txBox="1"/>
          <p:nvPr/>
        </p:nvSpPr>
        <p:spPr>
          <a:xfrm rot="897521">
            <a:off x="1194948" y="3493330"/>
            <a:ext cx="601121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/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Lower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Price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is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not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always</a:t>
            </a:r>
            <a:r>
              <a:rPr lang="zh-TW" altLang="en-US" sz="2600" dirty="0">
                <a:solidFill>
                  <a:srgbClr val="FFFFFF"/>
                </a:solidFill>
                <a:latin typeface="Open Sans Light"/>
              </a:rPr>
              <a:t> </a:t>
            </a:r>
            <a:r>
              <a:rPr lang="en-US" altLang="zh-TW" sz="2600" dirty="0">
                <a:solidFill>
                  <a:srgbClr val="FFFFFF"/>
                </a:solidFill>
                <a:latin typeface="Open Sans Light"/>
              </a:rPr>
              <a:t>attractive</a:t>
            </a:r>
            <a:endParaRPr lang="en-US" sz="2000" dirty="0">
              <a:solidFill>
                <a:srgbClr val="FFFFFF"/>
              </a:solidFill>
              <a:latin typeface="Open Sans Light"/>
            </a:endParaRPr>
          </a:p>
        </p:txBody>
      </p:sp>
      <p:pic>
        <p:nvPicPr>
          <p:cNvPr id="32" name="Picture 31" descr="A picture containing bottle, sign&#10;&#10;Description automatically generated">
            <a:extLst>
              <a:ext uri="{FF2B5EF4-FFF2-40B4-BE49-F238E27FC236}">
                <a16:creationId xmlns:a16="http://schemas.microsoft.com/office/drawing/2014/main" id="{2738BED5-5A35-E044-A443-02C23B526E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8726" y="1410256"/>
            <a:ext cx="752591" cy="752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02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3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/>
      <p:bldP spid="22" grpId="0"/>
      <p:bldP spid="23" grpId="0"/>
      <p:bldP spid="24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cc3IW3xs.A3E.qywQ4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7EUoqp.65v2YaEI0T9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psj0vGTD8AzyYX6sK4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_hCeMVwkeFlkEWBQqR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W63CrLg8rNRm0Z.OSsi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BZU_GPQLwfIrN6dsey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fo31TKD2pI7rpcEb6dA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wPhX0KI1gHahvLrINX1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5U.Y4yZypqZurnep1ee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6VUk2at9BvwmuxTgsGr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7IzUUpaZE2ZR4Flnzc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UZPQlszlweeWMXGA3n.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TQTjuMVbuIU2pIvGZ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8MULpERxaEOeHd6Ttk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3oTiXe8SCv2oQPcvP5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tVO8CusPGLs1ED1NzLS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DB7VM.rmBStFk2oWML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FOZJo3vRsd7wYssEV5.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_jPX3tICJnI42BZrGsK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jPvcgweKzzPtZ_8VQ9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bWPyJFusbaYJaNtWlD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p3iPbPJu4ScIXXR.S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olqIPZqqA.wRqUkWSU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OwCcm1c_s5UXVf36AI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eahPoYHZQM4HlNqy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1Z8chw_yzSXSMGon5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zeYJqOUAPj8qwZ2skT8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xpHj8LIwuxrEqVtSe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j7K1BC.3rlC9FfHSjiI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Fl1r0wKG8T2RbpOaV0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nvvyTQpzH2jeoMQgmw2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hNiG337ja5wvcVhyFx2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czBTTDHd_Oo4iTqa4V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c.EUHlqHb94MV2UZOx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9zae1Oyv2rtOWyT_6W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gM2qY0sdMTruWqtUCcs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v97vCVwa2kp0svRCji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emu4pX1O7ea7jDkhpgJ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d_dM__r9DBs5vIJIDhe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AuTPux2MPg8uuxr86h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2MteKSyn1KTewidVSM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BUqx_ouy4gD51TbR8y6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ERspornkZX_qMu9E06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ayYaIsung.5Lsf9Q8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MBK.H.7nz.9jsscALN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Cjiy5NUuKmu6Y2L0VA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Aaez7sAkJLCqfmN2PVl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Fz7JtVbFPqM1JLrn7r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jzGmpmkL9i.Tcp1cUba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dR2hVt0PXlhMNCvjkw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wwTFAgaD1rk54Jj.Dn1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RKTFyNV3.2zJmqVSMll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jIxXcu1ooTFiFdFojmi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I5JpCuFtfZJhGFYrMO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tyQw8xRcJ8vzv0Phtbc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D0Jm4nfA5C1C6LxG3N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Kemdd5fGWLIu.iRua2c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YW6g40YfYUZtD6vJn05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o7XWjWoA46Dp8b3nQZ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vcVdRh7oY.0KYj3FQz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lsIiFNkbdt7OLAbUN68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6mhegnDjuLxxcAMEqhu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mUD7r.nLasDpc9TykL9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8SQTmfUugcdS79NdTy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cFhkyRG3sU4y9wDjL4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J7.RnHpwerK5BL2qbQf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FkFmfB.XfPAQjB8n3V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tBi3EhzzlW76pYDt8h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3IzCuBLQa1TATl7B134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xb7Heqb1Mbn4H58hpO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YeRdIDcDwWVPeuyW2b0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GTsorJ11MZK.N001Wl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V.dDjDI911Odi0.0xMs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0IUYll.88JDkhpEUUAx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NQbXe6j.6fAtJqFRMHX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yItU9L18ZEaVFHifj3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67.XJEW_LI1ad.XIvz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afa44uM8kHC7x7l39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aYpfHVQQAmEIY7hvH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2_Rq4rvwCL_kncH4J1O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SywVfCtf_b0yEb0OFqJ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PMxJE6fmeNYSBGUiHpL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C8NpPTo3vGnDMSt7jE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zzn6bkzTtL27yNeXvGb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5fI42Bge0KnJ_n0X1n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5HRAVGHRMi1wc_BXEqF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Nn00tVazrmJkn2MVKZ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yDqDa.f1.A4HGcQW898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8bZ4f39aliIGB2DhGGw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7lDHnNQYNyKpjPuQnZ7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ML6imtd_GG5DRK7HHq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_hM0mn2qd7tQHPBtFsH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pI3iGWGHj.SVSfBwTOB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c.EUHlqHb94MV2UZOxG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wwuu.We2Hkvm6mJeks8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vYYx7XNOsYYBOJ2EmAB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ggaMCETJ3qAw1ljeO3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bYfUETsdEjqARX5aE6B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dhLJQZF714JbjE9MMVU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Wlhi1e.rwsW15abPs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XKOp4sgqhvINepV2Ls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.jUpkSJ8MmXYewKXibx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HrU3RM.9a.J9r0rbs9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5HQM5PQWAIc50FGiykJ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PY4M4Xg2Cb5.uesKMMU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00U7cx4kiRB4WMjBJvd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uX5.hhKUE3BRGjXrXf6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nhLCF_8fKeD7aDRRhB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6C5oZHmVVGlMSGKTXQ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FS_47.KyUt5bOMBbjbs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5KLC3PHWQfFMtn8Klo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axrbxsdUDKNiML.sLXV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av9y2NNj0U0a7k5Atym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9R0qKMDwskiG96OijgP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QeH_RMPKvYEJdKtkxPm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uYp046oBmIWDbRHaB2v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ovEECsp4Z9O5UudFw30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De2KgqaaZyM2HxgbFcX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L5pGfy9v4pWk1lUkiUe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o7XWjWoA46Dp8b3nQ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n6nPCBMVJ0pp9fH_1Z0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YW6g40YfYUZtD6vJn05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Kemdd5fGWLIu.iRua2c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Sw7IrbYekpPvcFWX0jw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vUEO193CmNa1_AJ1T22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7BkNSS.gIhu.AmdzJTo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s2KCPF8g.HWPsz5MKXN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XVceulvj4mb7GbCauj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cwrXu8AXQRCnMTUGy8G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hTcaz7etvjq3odgmSM7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w8hwPd2OGgzu7UgIX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Pnsu.c2o8i_ta6uPVNG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ip7jDRsA4eQKbODsMS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mn6JtP_XUtHvm0m_Tiv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ISzDqJWwXF36o8QZI_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xdQfP95QPBUa7k5hl5X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gxvxtzEhocmJzUGouYt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PdJRdRyvKZpc7uo31.N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gyVqs0P.EJacQkaN06O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oZI8TA2s.wqhCtlJoFc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S3tRR.JBqjERuhrfrtw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7ttH3Uq_LPDTPgJznx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Xcf3z1DRHskjksI04IS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j0AhPS65RgPKnOD_8y2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BWOqvP5DrfCiMeeWh5I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qkFSke2a8bdmZyQI06U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66hMoXBELuk1XLwsNo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EeaO_LMrooQfUhsX.NM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rQySiX7B9EnYfmx3A0S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jvy1be27wtovfXZJ3d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lafHFfNLf3d11HxcyHm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3ZS.uwitElY8lRBf3j4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GkpSRlxKtaGdXWmnc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l2_pyBLMahA.lcmqzL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w99JKxbuVpZv584KPKn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5VZ3RHgvCz9pJsIXPMp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KDwLWvtBasa5_UMsvH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8bZ4f39aliIGB2DhGGw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9Xg7gyLYnO98SpfbIk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pI3iGWGHj.SVSfBwTOB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K8_hcez4aQAz0.neDTz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XAfNWvcHi9ykIasaShn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dRxvaYwwUM.jBVE1B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oMJ8.u.05tntuNj1HD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RuYPgEnzBSed99zCsp5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7N1XkASr7AIWCZPl9UI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7whOR5jq4fafQWLldA3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PPmZJtFKn3qcR6duRO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hTn08VKbs_6bRrlMtO3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jW2WObEHRY6Lih3qf7s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jjOMUE01KhiNBnAZ.Lf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y6tQWIg_1AQLLS7zq1E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C.sL6asFPifX2Hbsxgw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Gm7ovssmxrU3whyW1R2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RUR7FjYZhDPWD_dsIU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.rnUPqkTB6a2tIodWPl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NCqhTr84p42wDaXTbL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8bV5rbvBF3Xx8M6E5CD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Ri99beLJFpegN.wJFxy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IJd19vbkIcT8Q1Y63nD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HrnS_h2NKEk1uEQ.tuq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Y84TsZ.oWkcxxl8aiO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AeKqKEHMt2AjXIXKZhu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1VD2WCS0xjiCLuMvcba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1AL2xB2WlGZt_Ial2D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7EUoqp.65v2YaEI0T9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hht7agcIhUOD26Ta490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xDWGBcDJuOEEF_Xawsr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H6RlQ3Y5B7_lnCqPeM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MqYvXLJalvJZ4DK50q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CBdxXifH5wRXwVAhfK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u85Bwaw2ujfqSeYCWn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JxADa3HfYpoWwA3Izs2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EaJpIv.9xk4KEa1TX8M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zk622IL666wyDiTMK.O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NTIriv1eeMWVyfBvKY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psj0vGTD8AzyYX6sK4w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0Ks7WYRUzUoCO6WJoVg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qmpVkhmU1gyOrav85mx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zrMxaPfKxFgtdi8zJXK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dMykdWiYh5etZKMijZI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d7abBNHYv8Z_3eJsbW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TZwtOOioPL05qr4Gh12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3nDWZjVgwciNMLFTiEw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PH_1s3EBJPhok0CYVEC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FLQZicTo.om5G1Fd51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6ETLPYYRxYeLp12HL4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9hxWiHLJaGpVPm9clF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SaudMIhZ823sZuTMm3f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M41tuH3mIRif9aR2USu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xDzYqW7aNRtXnlgnGT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u2Hvn_Hg02KvMuwuakX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0ykImTlifOeBINYhLjI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BxJTt0kPv5houlrNBoT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I5_8UWy2Mpm9FDSHTqw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s3YsYgr5QuOmNZPncvr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L4Sdr5xJk8hxqWRZgW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3HqHhq.mBjJNYQ3lyB2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G2ig7JpLkktarnNRN3E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t86ki9D30jlGDxQa0oo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LwXSE44Js9YaTeJNG06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CuYHV6JtYp75gsXaH_l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CZXVsBdmpthxtQsoHH2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lNodAzNnoCXiVbfy8B_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9spAMG7G6PB.FKRcF9V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KrqZbtO5MWbQl0PFhzY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.DoYCMv_03oZ1xlsKqC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HoCFXgnsIt7p_n6eLx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Tst6380jB3K5qS6QUcQ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rskhR0jXZHOet5QeATE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sKiuMX3pt.QNI14ago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lApSalEP_sScIdtELGt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Mxm_FelLlNRCPonwaJQ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75awIStRTc1Hyg7lljJ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T5gco7MYwjpl.9ouIF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hN3oVe2bFNVJ_DUEpDE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_3eBUA_cghZQIlBsd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fo31TKD2pI7rpcEb6dA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gS63X7T4YMDGy0AgV07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2LiLcTnrvhg6JQTRXcg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3dCbR6GZAQNiZ4UzJu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cc3IW3xs.A3E.qywQ4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UZPQlszlweeWMXGA3n.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olqIPZqqA.wRqUkWSU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czBTTDHd_Oo4iTqa4V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ayYaIsung.5Lsf9Q8e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tyQw8xRcJ8vzv0Phtbc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J7.RnHpwerK5BL2qbQ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W63CrLg8rNRm0Z.OSsi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67.XJEW_LI1ad.XIvz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yDqDa.f1.A4HGcQW898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bYfUETsdEjqARX5aE6B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FS_47.KyUt5bOMBbjb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n6nPCBMVJ0pp9fH_1Z0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Pnsu.c2o8i_ta6uPVNG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Xcf3z1DRHskjksI04IS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l2_pyBLMahA.lcmqzL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oMJ8.u.05tntuNj1HD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RUR7FjYZhDPWD_dsI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yf224rsWCJpXP6dj.J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7EUoqp.65v2YaEI0T9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psj0vGTD8AzyYX6sK4w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6ETLPYYRxYeLp12HL4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3HqHhq.mBjJNYQ3lyB2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Tst6380jB3K5qS6QUcQ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fo31TKD2pI7rpcEb6dA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W63CrLg8rNRm0Z.OSsi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yf224rsWCJpXP6dj.J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_hCeMVwkeFlkEWBQqRN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xpHj8LIwuxrEqVtSe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_hCeMVwkeFlkEWBQqRN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6VUk2at9BvwmuxTgsGr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DB7VM.rmBStFk2oWML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bWPyJFusbaYJaNtWlDR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8MULpERxaEOeHd6Ttko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oJ6TozNlFsUMzBM4WLU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1Z8chw_yzSXSMGon5C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a5ifuvw8UTzgMaI8IG2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jPvcgweKzzPtZ_8VQ9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b2B0znIrEUqgG.W1F7F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j7K1BC.3rlC9FfHSji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xpHj8LIwuxrEqVtSeX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3oTiXe8SCv2oQPcvP5F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TQTjuMVbuIU2pIvGZV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p3iPbPJu4ScIXXR.S7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Jvrk.XOdMNc95ksYfM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eahPoYHZQM4HlNqyk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FOZJo3vRsd7wYssEV5.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zeYJqOUAPj8qwZ2skT8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Fl1r0wKG8T2RbpOaV0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nvvyTQpzH2jeoMQgmw2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hNiG337ja5wvcVhyFx2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6VUk2at9BvwmuxTgsGr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UZPQlszlweeWMXGA3n.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2LiLcTnrvhg6JQTRXcg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_3eBUA_cghZQIlBsdY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hN3oVe2bFNVJ_DUEpDE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3dCbR6GZAQNiZ4UzJu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gS63X7T4YMDGy0AgV07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cc3IW3xs.A3E.qywQ4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olqIPZqqA.wRqUkWS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DB7VM.rmBStFk2oWML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Wiu7xgNkzTST.Fk_kZv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s4bO3Ar.plX34UZZHk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LtCC.do0EEb6NR6fz_9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pmKUwr7KQlC3Pd3Wfbs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fQS.HLh5oQ7SLyXkl4D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ITpm4m_Muyw4D0THiMk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1hChsrpAVFq_9t5c.z2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4HOnfdMfHfFko5VZ6YP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scbF_rZ6xo90s3uomar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T8BVZbVQPRZ9Em9jDi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bWPyJFusbaYJaNtWlDR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Xcf3z1DRHskjksI04IS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oMJ8.u.05tntuNj1HD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l2_pyBLMahA.lcmqzL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RUR7FjYZhDPWD_dsIU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6ETLPYYRxYeLp12HL4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7EUoqp.65v2YaEI0T9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psj0vGTD8AzyYX6sK4w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_hCeMVwkeFlkEWBQqRN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W63CrLg8rNRm0Z.OSsi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BZU_GPQLwfIrN6dsey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8MULpERxaEOeHd6Ttko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fo31TKD2pI7rpcEb6dA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wPhX0KI1gHahvLrINX1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5U.Y4yZypqZurnep1ee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6VUk2at9BvwmuxTgsGr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7IzUUpaZE2ZR4Flnzco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TQTjuMVbuIU2pIvGZV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8MULpERxaEOeHd6Ttko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3oTiXe8SCv2oQPcvP5F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tVO8CusPGLs1ED1NzLS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DB7VM.rmBStFk2oWM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oJ6TozNlFsUMzBM4WLU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FOZJo3vRsd7wYssEV5.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_jPX3tICJnI42BZrGsK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jPvcgweKzzPtZ_8VQ9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bWPyJFusbaYJaNtWlDR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p3iPbPJu4ScIXXR.S7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OwCcm1c_s5UXVf36AIp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eahPoYHZQM4HlNqyk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1Z8chw_yzSXSMGon5C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zeYJqOUAPj8qwZ2skT8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xpHj8LIwuxrEqVtSe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1Z8chw_yzSXSMGon5C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j7K1BC.3rlC9FfHSjiI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Fl1r0wKG8T2RbpOaV0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nvvyTQpzH2jeoMQgmw2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hNiG337ja5wvcVhyFx2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biavK0py5rPVgOHuKx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7a8mNTZil3kxwfDWZe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9Au9oiM_xFI7JtrPf.Q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Q0opUsWGOdAnRu3Fu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a5ifuvw8UTzgMaI8IG2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aaEXesyaNmHzR6wZ8i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dwMvejWQ717ZcCCQaoB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xAYSvZhBFiUjm3eXps6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ZHnxkz77tmzkzmmNXkq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GjVOYi49_tNpJUDMUV.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GCmr2W7iHSe68hY30nQ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tgY.8NB74l71Ugcrdtx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dMxpdzXmuWwhAekBsIU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aTYa1Hi3QOMIBtCGRwS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RYIrM43j4vuSjhxeb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jPvcgweKzzPtZ_8VQ9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cR7w0LEI8zTxTyyR.aQ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g_SCB806RSXR7V4srli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m8ACxhJ5SN8xO42EDc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OLP.Cm2u64tV.uJwJPN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iiN53vL.aVQ17g0RYHx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ytn3rQ0DXKuFeMvP8vM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ol1pwiZ4h_hdd0xIKqg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1bYqduwDg6ZhY0pnX5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b2B0znIrEUqgG.W1F7F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RYIrM43j4vuSjhxebE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seAAXTJrg1BYkQx3s_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LdwlGX8RfoT0mugR0wL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EgLzcBoWs6UJ.2vmfdh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8_lH4G414xJcWuv5yY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i_TF1o5YdatRx08.B2n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g_SCB806RSXR7V4srli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lT6Gmob55XGIBZdObUq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tmfVNPbhGPVzU_l21qp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jWDC6Q2LGdFFgOppS6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j7K1BC.3rlC9FfHSjiI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cR7w0LEI8zTxTyyR.aQ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f3D1dW9GUPHGH68fREL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dMxpdzXmuWwhAekBsIU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GCmr2W7iHSe68hY30nQ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tgY.8NB74l71Ugcrdtx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aTYa1Hi3QOMIBtCGRwS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vRuDo19bBUitV77_YeO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07pKaCZGOSX9MUXcVTD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PaCQXYht33px7_wMwlL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ZFXL5sV9eceMQjxxjc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3oTiXe8SCv2oQPcvP5F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ktf7Hgbz4gg7H.Qpt0p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IrCysu2_xgWBtSEL9Dx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bW3yFrADcm8efF6RCOY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l3f80pyzxrwangm0EJ.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wPr6BMhsRja5pf.yXC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6AMqtkoOUyBUtbGqXw6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7IjshAcxO1dzxfOYS.g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o2P0YxEE6Ri2e6zSCDN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JZVO8R3I.jCTAm5dvgp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BIhmdFVTh6QwE7699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TQTjuMVbuIU2pIvGZV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v_8.CkMpAjR62aefzWY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Sc0qdL._iZRmVVP8Tro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41JrkLJj2uJ9lmA3dr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k3NOPIpsH6PvIyYK9h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4ihyMZ4yRHI_7MUs0.L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Rb2OVzS36m5w6.V6sE5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NweUJSvuWziKqMXyaa8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qOonoRpcgJ7RnkNBs7O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p3iPbPJu4ScIXXR.S7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yP_ckDvLD0e2.08jbb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mOD3xSmdpEVYP9qBHl6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9.FlwWZhfeHrya0QTMQ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c5Ruza8RPkrV4U010cu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6m7aXJywOGjCPeM81Sh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LzuNW55A83z6zacWvHZ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PGOBpUZ8SnNEo.l9PNJ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zx_N5bC5wFcgiuPC8YO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FDza_Iut.SkxG8.5DoB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NsmQzxnC8YYC4NA5O0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hN3oVe2bFNVJ_DUEpDE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Jvrk.XOdMNc95ksYfM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XnjPgO0UNXjX0JZWGP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rZxy3pzq.vwXlPE79BH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FWz9XHG6IDzhmVO863N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EGLhck69f3UIakpWeLo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m_TEQjU5vExt0JyPN3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L7whlGck_Y6JLybFXqs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87dJyOPKgr3VAbhBmd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Wc0AaV_cP3pXbV4X3p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4niSZxtfI2rYbMyq0vL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ZEIxIgr0gK5gKO_wln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eahPoYHZQM4HlNqyk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sk7ggmRAfiW.J8RHIL2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p0FrefoYc_utaFQIwq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9.FlwWZhfeHrya0QTMQ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PGOBpUZ8SnNEo.l9PNJ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zx_N5bC5wFcgiuPC8YO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LzuNW55A83z6zacWvHZ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E61BL7GJei41Xhj.ILE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h2tvRFU.uww7kaxYWX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FOZJo3vRsd7wYssEV5.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HSolL4VthAAAjweiVY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VEtBR_BhdIzY63clXBX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B1dOntnZUor_nBd9oG0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fzo59yFExSZw9QKi2Ls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TtpoekYlXbEu7rTRjAU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26JGHwyPfnWQW28u5p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OjMaGUUbxOVRDCeZb3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t7r6kM6wV5KwQiyF63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zeYJqOUAPj8qwZ2skT8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Dfm_G012RYP09s9M12n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ahc9jU7fYjx3mhAH_YZ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_SAs20m2goffs9j5OSZ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cKdnTj_u7J7jTfe4bqS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6IV8eFUf1HA3i9_6K5e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zlgfOAq4DY4kj24erT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ETtjCkeQReEWFKzZ5a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cTKYlTz0FZtm4przaMl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SHaMIIAYdMoQswpWEV1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leuBUJYdBv.D23KOnMd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Fl1r0wKG8T2RbpOaV0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9pzHBgbWldaK69XDGDS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j_shP.8YW8wnz6O.7bY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i1Z57HeyhA75ch07aqM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gJk1GON4CxdgZEhdNYy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q3gv9HTDZedVfoU4OWh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e56_kPw2iG53qoqeZ3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6QpP.wPdCwTxCtGN9gA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eahPoYHZQM4HlNqyk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VzHYc65XwuuxvqC6L9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a69JNHeQcMStbkNYQ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nvvyTQpzH2jeoMQgmw2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7HkFufE.jR001OS8RzK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gVmC40jyHofhz9hj2rN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3QnkZOJRAOQguNz7Csp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HhBnViKap_ePnMftd1b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wqU2ItwBVt6dxKIb0zN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fnlwn_JFVeV2rB7oyUA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j2RDRV4s7E2B3a49qG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9UiGMWtAhHJgnmkPMI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GRJ.h9eSjl6jHJ95Fjk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DE2ovhGPhRYwnaWX_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hNiG337ja5wvcVhyFx2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U2KJbSvSv3DgF.zCm_y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CrU.lAVvAfmeoFD72Os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wrBHJCzdmjBnRIrX0IX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8pEqWTOn4HxKectwuE5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tcgO4UxFOXu3j.g5etm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ahc9jU7fYjx3mhAH_YZ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Dfm_G012RYP09s9M12n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OjMaGUUbxOVRDCeZb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6IV8eFUf1HA3i9_6K5e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cKdnTj_u7J7jTfe4bqS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TtpoekYlXbEu7rTRjAU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_SAs20m2goffs9j5OSZ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fzo59yFExSZw9QKi2Ls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26JGHwyPfnWQW28u5p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t7r6kM6wV5KwQiyF63W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Ct2A99HSSoWGKYSCyzL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2TAhKgGDHRYP5lZiAF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xDiABZqwXFeTxc1ELu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nhNvH_PXKV4vJnbhPEc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XZAXksLyX2lj08SH7m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V3eQVLZHbInaauZ_lI6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TJK00Ti1cC6LYYauKhT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w_Q_nIrPY9OYSkLVpqJ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nfkbv_Tcwu4f1hkQAWM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g.kBT_cJSJ.hVcHQyHY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i1Z57HeyhA75ch07aqM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gJk1GON4CxdgZEhdNYy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q3gv9HTDZedVfoU4OW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biavK0py5rPVgOHuKx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HhBnViKap_ePnMftd1b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9UiGMWtAhHJgnmkPMI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GRJ.h9eSjl6jHJ95Fjk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a69JNHeQcMStbkNYQc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CrU.lAVvAfmeoFD72Os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fnlwn_JFVeV2rB7oyUA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U2KJbSvSv3DgF.zCm_y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8pEqWTOn4HxKectwuE5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WtYiOE5i7L0yFj6Z8yG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wqU2ItwBVt6dxKIb0z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_3eBUA_cghZQIlBsd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7a8mNTZil3kxwfDWZe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6QpP.wPdCwTxCtGN9gA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7DE2ovhGPhRYwnaWX_g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3QnkZOJRAOQguNz7Csp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e56_kPw2iG53qoqeZ3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rAeahPoYHZQM4HlNqyk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gVmC40jyHofhz9hj2rN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_VwyB1l375RtVgNfxIY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VzHYc65XwuuxvqC6L9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7HkFufE.jR001OS8RzK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j2RDRV4s7E2B3a49q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9Au9oiM_xFI7JtrPf.Q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5KiMCjKtT6LIOB0znpT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tcgO4UxFOXu3j.g5etm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Q0opUsWGOdAnRu3Fu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aaEXesyaNmHzR6wZ8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dwMvejWQ717ZcCCQaoB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xAYSvZhBFiUjm3eXps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ZHnxkz77tmzkzmmNXk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GjVOYi49_tNpJUDMUV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GCmr2W7iHSe68hY30n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tgY.8NB74l71Ugcrdt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gS63X7T4YMDGy0AgV07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dMxpdzXmuWwhAekBsI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aTYa1Hi3QOMIBtCGRwS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RYIrM43j4vuSjhxebE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cR7w0LEI8zTxTyyR.a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g_SCB806RSXR7V4srl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bXyhuTdBaMdh.J_BNZ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UZPQlszlweeWMXGA3n.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2LiLcTnrvhg6JQTRXc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n_3eBUA_cghZQIlBsd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2LiLcTnrvhg6JQTRXcg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hN3oVe2bFNVJ_DUEpD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3dCbR6GZAQNiZ4UzJ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gS63X7T4YMDGy0AgV07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cc3IW3xs.A3E.qywQ4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olqIPZqqA.wRqUkWSU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Wiu7xgNkzTST.Fk_kZ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s4bO3Ar.plX34UZZHk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LtCC.do0EEb6NR6fz_9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pmKUwr7KQlC3Pd3Wfb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fQS.HLh5oQ7SLyXkl4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3dCbR6GZAQNiZ4UzJ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ITpm4m_Muyw4D0THiM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1hChsrpAVFq_9t5c.z2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4HOnfdMfHfFko5VZ6YP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scbF_rZ6xo90s3uomar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T8BVZbVQPRZ9Em9jDi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Xcf3z1DRHskjksI04IS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oMJ8.u.05tntuNj1HD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l2_pyBLMahA.lcmqz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RUR7FjYZhDPWD_dsIU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6ETLPYYRxYeLp12HL4A"/>
</p:tagLst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PRESENTATIONLOAD">
  <a:themeElements>
    <a:clrScheme name="PRESENTATIONLOAD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47F83"/>
      </a:accent1>
      <a:accent2>
        <a:srgbClr val="949494"/>
      </a:accent2>
      <a:accent3>
        <a:srgbClr val="B6AF9D"/>
      </a:accent3>
      <a:accent4>
        <a:srgbClr val="D6CEB5"/>
      </a:accent4>
      <a:accent5>
        <a:srgbClr val="ACD0CA"/>
      </a:accent5>
      <a:accent6>
        <a:srgbClr val="ACD0C0"/>
      </a:accent6>
      <a:hlink>
        <a:srgbClr val="0000FF"/>
      </a:hlink>
      <a:folHlink>
        <a:srgbClr val="FF00FF"/>
      </a:folHlink>
    </a:clrScheme>
    <a:fontScheme name="PRESENTATIONLOAD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PRESENTATIONLOA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36000" tIns="36000" rIns="36000" bIns="3600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 Light"/>
            <a:ea typeface="Calibri Light"/>
            <a:cs typeface="Calibri Light"/>
            <a:sym typeface="Calibri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ctr" defTabSz="914400" rtl="0" fontAlgn="auto" latinLnBrk="0" hangingPunct="0">
          <a:lnSpc>
            <a:spcPct val="90000"/>
          </a:lnSpc>
          <a:spcBef>
            <a:spcPts val="100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entury Gothic"/>
            <a:ea typeface="Century Gothic"/>
            <a:cs typeface="Century Gothic"/>
            <a:sym typeface="Century Gothic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1_PRESENTATIONLOAD">
  <a:themeElements>
    <a:clrScheme name="Custom 22">
      <a:dk1>
        <a:srgbClr val="000000"/>
      </a:dk1>
      <a:lt1>
        <a:srgbClr val="FFFFFF"/>
      </a:lt1>
      <a:dk2>
        <a:srgbClr val="262626"/>
      </a:dk2>
      <a:lt2>
        <a:srgbClr val="FFFFFF"/>
      </a:lt2>
      <a:accent1>
        <a:srgbClr val="747F83"/>
      </a:accent1>
      <a:accent2>
        <a:srgbClr val="949494"/>
      </a:accent2>
      <a:accent3>
        <a:srgbClr val="B6AF9D"/>
      </a:accent3>
      <a:accent4>
        <a:srgbClr val="D6CEB5"/>
      </a:accent4>
      <a:accent5>
        <a:srgbClr val="ACD0CA"/>
      </a:accent5>
      <a:accent6>
        <a:srgbClr val="ACD0C0"/>
      </a:accent6>
      <a:hlink>
        <a:srgbClr val="FFFFFF"/>
      </a:hlink>
      <a:folHlink>
        <a:srgbClr val="595959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Benutzerdefiniert 302">
      <a:dk1>
        <a:srgbClr val="464646"/>
      </a:dk1>
      <a:lt1>
        <a:srgbClr val="F8F8F8"/>
      </a:lt1>
      <a:dk2>
        <a:srgbClr val="44546A"/>
      </a:dk2>
      <a:lt2>
        <a:srgbClr val="E7E6E6"/>
      </a:lt2>
      <a:accent1>
        <a:srgbClr val="00B0F0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Nova">
      <a:dk1>
        <a:srgbClr val="283147"/>
      </a:dk1>
      <a:lt1>
        <a:srgbClr val="FFFFFF"/>
      </a:lt1>
      <a:dk2>
        <a:srgbClr val="3598FE"/>
      </a:dk2>
      <a:lt2>
        <a:srgbClr val="3598FE"/>
      </a:lt2>
      <a:accent1>
        <a:srgbClr val="3598FE"/>
      </a:accent1>
      <a:accent2>
        <a:srgbClr val="3598FE"/>
      </a:accent2>
      <a:accent3>
        <a:srgbClr val="3598FE"/>
      </a:accent3>
      <a:accent4>
        <a:srgbClr val="3598FE"/>
      </a:accent4>
      <a:accent5>
        <a:srgbClr val="3598FE"/>
      </a:accent5>
      <a:accent6>
        <a:srgbClr val="3598FE"/>
      </a:accent6>
      <a:hlink>
        <a:srgbClr val="2F8299"/>
      </a:hlink>
      <a:folHlink>
        <a:srgbClr val="8C8C8C"/>
      </a:folHlink>
    </a:clrScheme>
    <a:fontScheme name="Lymo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You_Exec_-_Keynote_Presentation_-_Collages" id="{B0E7537F-AD47-9348-9004-6FC1C7769131}" vid="{1179D1D7-8E1D-354E-897F-29C5645958E1}"/>
    </a:ext>
  </a:extLst>
</a:theme>
</file>

<file path=ppt/theme/theme6.xml><?xml version="1.0" encoding="utf-8"?>
<a:theme xmlns:a="http://schemas.openxmlformats.org/drawingml/2006/main" name="1_Default Theme">
  <a:themeElements>
    <a:clrScheme name="SlideSalad Theme 34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747F83"/>
      </a:accent1>
      <a:accent2>
        <a:srgbClr val="949494"/>
      </a:accent2>
      <a:accent3>
        <a:srgbClr val="B6AF9D"/>
      </a:accent3>
      <a:accent4>
        <a:srgbClr val="D6CEB5"/>
      </a:accent4>
      <a:accent5>
        <a:srgbClr val="ACD0CA"/>
      </a:accent5>
      <a:accent6>
        <a:srgbClr val="ACD0C0"/>
      </a:accent6>
      <a:hlink>
        <a:srgbClr val="FFFFFF"/>
      </a:hlink>
      <a:folHlink>
        <a:srgbClr val="595959"/>
      </a:folHlink>
    </a:clrScheme>
    <a:fontScheme name="Custom 84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/>
        </a:solidFill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Product Launch" id="{F27317C8-6BA5-5E46-A42E-6FAE9FE3BBCF}" vid="{B7493E14-B502-A540-ACD5-97154DEBA946}"/>
    </a:ext>
  </a:extLst>
</a:theme>
</file>

<file path=ppt/theme/theme7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Ion">
  <a:themeElements>
    <a:clrScheme name="Model X">
      <a:dk1>
        <a:srgbClr val="272E3A"/>
      </a:dk1>
      <a:lt1>
        <a:srgbClr val="FFFFFF"/>
      </a:lt1>
      <a:dk2>
        <a:srgbClr val="00A3DA"/>
      </a:dk2>
      <a:lt2>
        <a:srgbClr val="0CA8DA"/>
      </a:lt2>
      <a:accent1>
        <a:srgbClr val="56CADC"/>
      </a:accent1>
      <a:accent2>
        <a:srgbClr val="49C4DB"/>
      </a:accent2>
      <a:accent3>
        <a:srgbClr val="3DBEDB"/>
      </a:accent3>
      <a:accent4>
        <a:srgbClr val="31B9DB"/>
      </a:accent4>
      <a:accent5>
        <a:srgbClr val="24B3DA"/>
      </a:accent5>
      <a:accent6>
        <a:srgbClr val="18AEDA"/>
      </a:accent6>
      <a:hlink>
        <a:srgbClr val="2F8299"/>
      </a:hlink>
      <a:folHlink>
        <a:srgbClr val="8C8C8C"/>
      </a:folHlink>
    </a:clrScheme>
    <a:fontScheme name="Model X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You_Exec_-_Product_Roadmap" id="{CC50DD7D-B775-6E40-9394-C070C63FA460}" vid="{BCA1B29F-E209-7545-A6BC-E8F741902E13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3</TotalTime>
  <Words>779</Words>
  <Application>Microsoft Macintosh PowerPoint</Application>
  <PresentationFormat>Widescreen</PresentationFormat>
  <Paragraphs>436</Paragraphs>
  <Slides>2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4" baseType="lpstr">
      <vt:lpstr>Bebas Neue</vt:lpstr>
      <vt:lpstr>Roboto</vt:lpstr>
      <vt:lpstr>Arial</vt:lpstr>
      <vt:lpstr>Calibri</vt:lpstr>
      <vt:lpstr>Calibri Light</vt:lpstr>
      <vt:lpstr>Cambria</vt:lpstr>
      <vt:lpstr>Century Gothic</vt:lpstr>
      <vt:lpstr>Open Sans Light</vt:lpstr>
      <vt:lpstr>Wingdings</vt:lpstr>
      <vt:lpstr>Wingdings 3</vt:lpstr>
      <vt:lpstr>Office Theme</vt:lpstr>
      <vt:lpstr>3_PRESENTATIONLOAD</vt:lpstr>
      <vt:lpstr>1_PRESENTATIONLOAD</vt:lpstr>
      <vt:lpstr>1_Office Theme</vt:lpstr>
      <vt:lpstr>2_Office Theme</vt:lpstr>
      <vt:lpstr>1_Default Theme</vt:lpstr>
      <vt:lpstr>3_Office Theme</vt:lpstr>
      <vt:lpstr>Io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ng-Chen Hung</dc:creator>
  <cp:lastModifiedBy>Meng-Chen Hung</cp:lastModifiedBy>
  <cp:revision>33</cp:revision>
  <dcterms:created xsi:type="dcterms:W3CDTF">2019-11-06T18:24:10Z</dcterms:created>
  <dcterms:modified xsi:type="dcterms:W3CDTF">2019-11-07T23:11:32Z</dcterms:modified>
</cp:coreProperties>
</file>